
<file path=[Content_Types].xml><?xml version="1.0" encoding="utf-8"?>
<Types xmlns="http://schemas.openxmlformats.org/package/2006/content-types">
  <Override PartName="/ppt/slideLayouts/slideLayout39.xml" ContentType="application/vnd.openxmlformats-officedocument.presentationml.slideLayout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Default Extension="svg" ContentType="image/svg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0"/>
  </p:notesMasterIdLst>
  <p:sldIdLst>
    <p:sldId id="2145706742" r:id="rId6"/>
    <p:sldId id="2145706743" r:id="rId7"/>
    <p:sldId id="2145706747" r:id="rId8"/>
    <p:sldId id="2145706752" r:id="rId9"/>
    <p:sldId id="2145706749" r:id="rId10"/>
    <p:sldId id="2145706751" r:id="rId11"/>
    <p:sldId id="2145706754" r:id="rId12"/>
    <p:sldId id="2145706755" r:id="rId13"/>
    <p:sldId id="2145706756" r:id="rId14"/>
    <p:sldId id="2145706757" r:id="rId15"/>
    <p:sldId id="2145706758" r:id="rId16"/>
    <p:sldId id="2145706759" r:id="rId17"/>
    <p:sldId id="2145706760" r:id="rId18"/>
    <p:sldId id="2145706761" r:id="rId19"/>
  </p:sldIdLst>
  <p:sldSz cx="12192000" cy="6858000"/>
  <p:notesSz cx="6858000" cy="9144000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pos="3840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FBFBF"/>
    <a:srgbClr val="FFFFFF"/>
    <a:srgbClr val="FAF8F6"/>
    <a:srgbClr val="F7F7F7"/>
    <a:srgbClr val="F2F1F1"/>
    <a:srgbClr val="F2F2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763" autoAdjust="0"/>
    <p:restoredTop sz="96296"/>
  </p:normalViewPr>
  <p:slideViewPr>
    <p:cSldViewPr snapToGrid="0" snapToObjects="1" showGuides="1">
      <p:cViewPr varScale="1">
        <p:scale>
          <a:sx n="75" d="100"/>
          <a:sy n="75" d="100"/>
        </p:scale>
        <p:origin x="-750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2824" y="18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72666F9-485C-4233-8EB7-4FCFF3C52F71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A93A590-00BE-4CA8-AD62-625E7D298AA6}">
      <dgm:prSet phldrT="[Текст]"/>
      <dgm:spPr/>
      <dgm:t>
        <a:bodyPr/>
        <a:lstStyle/>
        <a:p>
          <a:r>
            <a:rPr lang="ru-RU" dirty="0"/>
            <a:t>Образовательные программы</a:t>
          </a:r>
        </a:p>
      </dgm:t>
    </dgm:pt>
    <dgm:pt modelId="{E04FCA82-3A35-463A-93D5-8563E557B6CF}" type="parTrans" cxnId="{AC54A617-154D-43B3-B857-974FA443CEF8}">
      <dgm:prSet/>
      <dgm:spPr/>
      <dgm:t>
        <a:bodyPr/>
        <a:lstStyle/>
        <a:p>
          <a:endParaRPr lang="ru-RU"/>
        </a:p>
      </dgm:t>
    </dgm:pt>
    <dgm:pt modelId="{22FB8EEA-2A82-4E42-84E1-27D0A2E69AC5}" type="sibTrans" cxnId="{AC54A617-154D-43B3-B857-974FA443CEF8}">
      <dgm:prSet/>
      <dgm:spPr/>
      <dgm:t>
        <a:bodyPr/>
        <a:lstStyle/>
        <a:p>
          <a:endParaRPr lang="ru-RU"/>
        </a:p>
      </dgm:t>
    </dgm:pt>
    <dgm:pt modelId="{9A910473-D02A-4FD9-882D-DC6346AEF6AD}">
      <dgm:prSet phldrT="[Текст]"/>
      <dgm:spPr/>
      <dgm:t>
        <a:bodyPr/>
        <a:lstStyle/>
        <a:p>
          <a:r>
            <a:rPr lang="ru-RU" dirty="0"/>
            <a:t>Математика, физика, химия для 7-10 классов. Уровни – базовый+ и углубленный</a:t>
          </a:r>
        </a:p>
      </dgm:t>
    </dgm:pt>
    <dgm:pt modelId="{F5F65F50-B96C-4A18-81D4-760E806405F5}" type="parTrans" cxnId="{DBAA4AA6-929E-430B-AD3A-C368B58ABBB8}">
      <dgm:prSet/>
      <dgm:spPr/>
      <dgm:t>
        <a:bodyPr/>
        <a:lstStyle/>
        <a:p>
          <a:endParaRPr lang="ru-RU"/>
        </a:p>
      </dgm:t>
    </dgm:pt>
    <dgm:pt modelId="{D8B7826B-324C-4B4B-8190-327246E7DB19}" type="sibTrans" cxnId="{DBAA4AA6-929E-430B-AD3A-C368B58ABBB8}">
      <dgm:prSet/>
      <dgm:spPr/>
      <dgm:t>
        <a:bodyPr/>
        <a:lstStyle/>
        <a:p>
          <a:endParaRPr lang="ru-RU"/>
        </a:p>
      </dgm:t>
    </dgm:pt>
    <dgm:pt modelId="{16E169E5-66B6-4136-B729-11C6E015FB9D}">
      <dgm:prSet phldrT="[Текст]"/>
      <dgm:spPr/>
      <dgm:t>
        <a:bodyPr/>
        <a:lstStyle/>
        <a:p>
          <a:r>
            <a:rPr lang="ru-RU" dirty="0"/>
            <a:t>Подготовка к ЕГЭ по математике, физике, химии (с сентября 2022 г.)</a:t>
          </a:r>
        </a:p>
      </dgm:t>
    </dgm:pt>
    <dgm:pt modelId="{5A5445B7-2C80-4A2A-88D2-AA39306BC4E4}" type="parTrans" cxnId="{96BB11A3-99BE-4DCD-B7E3-7862A6D80357}">
      <dgm:prSet/>
      <dgm:spPr/>
      <dgm:t>
        <a:bodyPr/>
        <a:lstStyle/>
        <a:p>
          <a:endParaRPr lang="ru-RU"/>
        </a:p>
      </dgm:t>
    </dgm:pt>
    <dgm:pt modelId="{DCD45C4C-D847-47C5-A47B-C0D2187792B9}" type="sibTrans" cxnId="{96BB11A3-99BE-4DCD-B7E3-7862A6D80357}">
      <dgm:prSet/>
      <dgm:spPr/>
      <dgm:t>
        <a:bodyPr/>
        <a:lstStyle/>
        <a:p>
          <a:endParaRPr lang="ru-RU"/>
        </a:p>
      </dgm:t>
    </dgm:pt>
    <dgm:pt modelId="{1660D654-953F-425F-88BA-70D4555DDEDB}">
      <dgm:prSet phldrT="[Текст]"/>
      <dgm:spPr/>
      <dgm:t>
        <a:bodyPr/>
        <a:lstStyle/>
        <a:p>
          <a:r>
            <a:rPr lang="ru-RU" dirty="0"/>
            <a:t>Проектно-исследовательская (инженерно-конструкторская) программа</a:t>
          </a:r>
        </a:p>
      </dgm:t>
    </dgm:pt>
    <dgm:pt modelId="{9266690C-A291-4D6D-BD88-6BC1DF938C3B}" type="parTrans" cxnId="{F687A21F-0677-4C90-A66C-F8BFC5883281}">
      <dgm:prSet/>
      <dgm:spPr/>
      <dgm:t>
        <a:bodyPr/>
        <a:lstStyle/>
        <a:p>
          <a:endParaRPr lang="ru-RU"/>
        </a:p>
      </dgm:t>
    </dgm:pt>
    <dgm:pt modelId="{6D8DC3BF-2F8A-4BB0-ACF4-29CCC2DE30A2}" type="sibTrans" cxnId="{F687A21F-0677-4C90-A66C-F8BFC5883281}">
      <dgm:prSet/>
      <dgm:spPr/>
      <dgm:t>
        <a:bodyPr/>
        <a:lstStyle/>
        <a:p>
          <a:endParaRPr lang="ru-RU"/>
        </a:p>
      </dgm:t>
    </dgm:pt>
    <dgm:pt modelId="{F9FA615C-4637-4D63-A040-F92A9C5F6633}">
      <dgm:prSet phldrT="[Текст]"/>
      <dgm:spPr/>
      <dgm:t>
        <a:bodyPr/>
        <a:lstStyle/>
        <a:p>
          <a:r>
            <a:rPr lang="ru-RU" dirty="0"/>
            <a:t>Другие мероприятия</a:t>
          </a:r>
        </a:p>
      </dgm:t>
    </dgm:pt>
    <dgm:pt modelId="{6F7965C7-0FF5-440E-B129-EF4ABEAD6781}" type="parTrans" cxnId="{EEFF3FB1-5416-4679-BF4E-DE29CB81D442}">
      <dgm:prSet/>
      <dgm:spPr/>
      <dgm:t>
        <a:bodyPr/>
        <a:lstStyle/>
        <a:p>
          <a:endParaRPr lang="ru-RU"/>
        </a:p>
      </dgm:t>
    </dgm:pt>
    <dgm:pt modelId="{CCFEAD54-5F88-4905-9249-2597D5B039D6}" type="sibTrans" cxnId="{EEFF3FB1-5416-4679-BF4E-DE29CB81D442}">
      <dgm:prSet/>
      <dgm:spPr/>
      <dgm:t>
        <a:bodyPr/>
        <a:lstStyle/>
        <a:p>
          <a:endParaRPr lang="ru-RU"/>
        </a:p>
      </dgm:t>
    </dgm:pt>
    <dgm:pt modelId="{820E8F53-E1B5-4938-A6E6-1D1726405DAD}">
      <dgm:prSet phldrT="[Текст]"/>
      <dgm:spPr/>
      <dgm:t>
        <a:bodyPr/>
        <a:lstStyle/>
        <a:p>
          <a:r>
            <a:rPr lang="ru-RU" dirty="0"/>
            <a:t>Комплексная цифровая диагностика с формированием групповых компетентностных профилей и карт дефицитов</a:t>
          </a:r>
        </a:p>
      </dgm:t>
    </dgm:pt>
    <dgm:pt modelId="{E42CCA89-79F1-4679-A420-924E8871366D}" type="parTrans" cxnId="{F79F6D77-0CFE-485B-8902-0A700582B45B}">
      <dgm:prSet/>
      <dgm:spPr/>
      <dgm:t>
        <a:bodyPr/>
        <a:lstStyle/>
        <a:p>
          <a:endParaRPr lang="ru-RU"/>
        </a:p>
      </dgm:t>
    </dgm:pt>
    <dgm:pt modelId="{AAD4914A-8C95-4943-AC52-88F5AB333830}" type="sibTrans" cxnId="{F79F6D77-0CFE-485B-8902-0A700582B45B}">
      <dgm:prSet/>
      <dgm:spPr/>
      <dgm:t>
        <a:bodyPr/>
        <a:lstStyle/>
        <a:p>
          <a:endParaRPr lang="ru-RU"/>
        </a:p>
      </dgm:t>
    </dgm:pt>
    <dgm:pt modelId="{9AF55192-9CF1-41CB-A44C-2ED36DF45344}">
      <dgm:prSet phldrT="[Текст]"/>
      <dgm:spPr/>
      <dgm:t>
        <a:bodyPr/>
        <a:lstStyle/>
        <a:p>
          <a:r>
            <a:rPr lang="ru-RU" dirty="0"/>
            <a:t>Предметная олимпиада УГМК (математика, физика, химия)</a:t>
          </a:r>
        </a:p>
      </dgm:t>
    </dgm:pt>
    <dgm:pt modelId="{8B5717AE-4611-4E99-BCA9-E04D838070B5}" type="parTrans" cxnId="{731AC4DC-EE86-45B6-9653-6B710C60264A}">
      <dgm:prSet/>
      <dgm:spPr/>
      <dgm:t>
        <a:bodyPr/>
        <a:lstStyle/>
        <a:p>
          <a:endParaRPr lang="ru-RU"/>
        </a:p>
      </dgm:t>
    </dgm:pt>
    <dgm:pt modelId="{7D1A2920-359B-4E6A-A45B-BD82906A3E59}" type="sibTrans" cxnId="{731AC4DC-EE86-45B6-9653-6B710C60264A}">
      <dgm:prSet/>
      <dgm:spPr/>
      <dgm:t>
        <a:bodyPr/>
        <a:lstStyle/>
        <a:p>
          <a:endParaRPr lang="ru-RU"/>
        </a:p>
      </dgm:t>
    </dgm:pt>
    <dgm:pt modelId="{3612D1EF-D591-4FEB-AB7A-D30313F329E5}">
      <dgm:prSet phldrT="[Текст]"/>
      <dgm:spPr/>
      <dgm:t>
        <a:bodyPr/>
        <a:lstStyle/>
        <a:p>
          <a:r>
            <a:rPr lang="ru-RU" dirty="0"/>
            <a:t>Отборочный тур </a:t>
          </a:r>
          <a:r>
            <a:rPr lang="ru-RU" dirty="0" err="1"/>
            <a:t>Инженериады</a:t>
          </a:r>
          <a:r>
            <a:rPr lang="ru-RU" dirty="0"/>
            <a:t> УГМК</a:t>
          </a:r>
        </a:p>
      </dgm:t>
    </dgm:pt>
    <dgm:pt modelId="{F79943E5-743A-45FC-AF19-3BEA45C575DF}" type="parTrans" cxnId="{A044BDE3-DBB9-4AFB-8264-8FCEFC77B70B}">
      <dgm:prSet/>
      <dgm:spPr/>
      <dgm:t>
        <a:bodyPr/>
        <a:lstStyle/>
        <a:p>
          <a:endParaRPr lang="ru-RU"/>
        </a:p>
      </dgm:t>
    </dgm:pt>
    <dgm:pt modelId="{28F7AD24-0B6F-433B-84BB-C8DE9D90E476}" type="sibTrans" cxnId="{A044BDE3-DBB9-4AFB-8264-8FCEFC77B70B}">
      <dgm:prSet/>
      <dgm:spPr/>
      <dgm:t>
        <a:bodyPr/>
        <a:lstStyle/>
        <a:p>
          <a:endParaRPr lang="ru-RU"/>
        </a:p>
      </dgm:t>
    </dgm:pt>
    <dgm:pt modelId="{E6676DB9-BA9D-4997-B12B-44D8181FADDD}">
      <dgm:prSet phldrT="[Текст]"/>
      <dgm:spPr/>
      <dgm:t>
        <a:bodyPr/>
        <a:lstStyle/>
        <a:p>
          <a:r>
            <a:rPr lang="ru-RU" dirty="0"/>
            <a:t>Профориентационные мероприятия с экспертами УГМК и студентами Технического университета УГМК </a:t>
          </a:r>
        </a:p>
      </dgm:t>
    </dgm:pt>
    <dgm:pt modelId="{0752FF57-EFEC-4BD8-BF95-BAE6085DEFCD}" type="parTrans" cxnId="{0CDF9A3E-A3F6-450A-9CDC-2EF15C272F58}">
      <dgm:prSet/>
      <dgm:spPr/>
      <dgm:t>
        <a:bodyPr/>
        <a:lstStyle/>
        <a:p>
          <a:endParaRPr lang="ru-RU"/>
        </a:p>
      </dgm:t>
    </dgm:pt>
    <dgm:pt modelId="{DCF364D6-24DE-432C-893F-EFAB349CCF96}" type="sibTrans" cxnId="{0CDF9A3E-A3F6-450A-9CDC-2EF15C272F58}">
      <dgm:prSet/>
      <dgm:spPr/>
      <dgm:t>
        <a:bodyPr/>
        <a:lstStyle/>
        <a:p>
          <a:endParaRPr lang="ru-RU"/>
        </a:p>
      </dgm:t>
    </dgm:pt>
    <dgm:pt modelId="{598B6F0A-F087-4099-B100-A965595C2AF1}" type="pres">
      <dgm:prSet presAssocID="{472666F9-485C-4233-8EB7-4FCFF3C52F71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2392A457-A424-46EB-AD21-A73B70FAFAFC}" type="pres">
      <dgm:prSet presAssocID="{8A93A590-00BE-4CA8-AD62-625E7D298AA6}" presName="root" presStyleCnt="0">
        <dgm:presLayoutVars>
          <dgm:chMax/>
          <dgm:chPref/>
        </dgm:presLayoutVars>
      </dgm:prSet>
      <dgm:spPr/>
    </dgm:pt>
    <dgm:pt modelId="{F29AF4B2-516F-4430-9C90-D83BF5DC58E7}" type="pres">
      <dgm:prSet presAssocID="{8A93A590-00BE-4CA8-AD62-625E7D298AA6}" presName="rootComposite" presStyleCnt="0">
        <dgm:presLayoutVars/>
      </dgm:prSet>
      <dgm:spPr/>
    </dgm:pt>
    <dgm:pt modelId="{C4D0BB60-8287-4495-AC0B-A013EE53C8C4}" type="pres">
      <dgm:prSet presAssocID="{8A93A590-00BE-4CA8-AD62-625E7D298AA6}" presName="ParentAccent" presStyleLbl="alignNode1" presStyleIdx="0" presStyleCnt="2"/>
      <dgm:spPr/>
    </dgm:pt>
    <dgm:pt modelId="{7712C66E-2456-4103-BA98-74190CBEB2D9}" type="pres">
      <dgm:prSet presAssocID="{8A93A590-00BE-4CA8-AD62-625E7D298AA6}" presName="ParentSmallAccent" presStyleLbl="fgAcc1" presStyleIdx="0" presStyleCnt="2"/>
      <dgm:spPr/>
    </dgm:pt>
    <dgm:pt modelId="{569A2A7C-A513-4D62-8C09-B7EB226C4D5B}" type="pres">
      <dgm:prSet presAssocID="{8A93A590-00BE-4CA8-AD62-625E7D298AA6}" presName="Parent" presStyleLbl="revTx" presStyleIdx="0" presStyleCnt="9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2E1794-71C5-4E6D-9668-8D4F5A1EE8C8}" type="pres">
      <dgm:prSet presAssocID="{8A93A590-00BE-4CA8-AD62-625E7D298AA6}" presName="childShape" presStyleCnt="0">
        <dgm:presLayoutVars>
          <dgm:chMax val="0"/>
          <dgm:chPref val="0"/>
        </dgm:presLayoutVars>
      </dgm:prSet>
      <dgm:spPr/>
    </dgm:pt>
    <dgm:pt modelId="{A18F5642-0FC9-433C-BD41-E66BF792973C}" type="pres">
      <dgm:prSet presAssocID="{9A910473-D02A-4FD9-882D-DC6346AEF6AD}" presName="childComposite" presStyleCnt="0">
        <dgm:presLayoutVars>
          <dgm:chMax val="0"/>
          <dgm:chPref val="0"/>
        </dgm:presLayoutVars>
      </dgm:prSet>
      <dgm:spPr/>
    </dgm:pt>
    <dgm:pt modelId="{A920C810-D233-4542-8593-176CAB4BCB04}" type="pres">
      <dgm:prSet presAssocID="{9A910473-D02A-4FD9-882D-DC6346AEF6AD}" presName="ChildAccent" presStyleLbl="solidFgAcc1" presStyleIdx="0" presStyleCnt="7"/>
      <dgm:spPr/>
    </dgm:pt>
    <dgm:pt modelId="{FA109DCE-A179-452D-8AF7-05C73444D245}" type="pres">
      <dgm:prSet presAssocID="{9A910473-D02A-4FD9-882D-DC6346AEF6AD}" presName="Child" presStyleLbl="revTx" presStyleIdx="1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1EABA0-5ECC-472C-A88F-780F6C90A8CB}" type="pres">
      <dgm:prSet presAssocID="{16E169E5-66B6-4136-B729-11C6E015FB9D}" presName="childComposite" presStyleCnt="0">
        <dgm:presLayoutVars>
          <dgm:chMax val="0"/>
          <dgm:chPref val="0"/>
        </dgm:presLayoutVars>
      </dgm:prSet>
      <dgm:spPr/>
    </dgm:pt>
    <dgm:pt modelId="{DC7C380D-4EE3-4F77-9055-DA77049E6E20}" type="pres">
      <dgm:prSet presAssocID="{16E169E5-66B6-4136-B729-11C6E015FB9D}" presName="ChildAccent" presStyleLbl="solidFgAcc1" presStyleIdx="1" presStyleCnt="7"/>
      <dgm:spPr/>
    </dgm:pt>
    <dgm:pt modelId="{A449C9E4-6DC8-4245-9AB3-0BBD0C398BE1}" type="pres">
      <dgm:prSet presAssocID="{16E169E5-66B6-4136-B729-11C6E015FB9D}" presName="Child" presStyleLbl="revTx" presStyleIdx="2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6070B7-D83B-4776-8977-16120FBD81F9}" type="pres">
      <dgm:prSet presAssocID="{1660D654-953F-425F-88BA-70D4555DDEDB}" presName="childComposite" presStyleCnt="0">
        <dgm:presLayoutVars>
          <dgm:chMax val="0"/>
          <dgm:chPref val="0"/>
        </dgm:presLayoutVars>
      </dgm:prSet>
      <dgm:spPr/>
    </dgm:pt>
    <dgm:pt modelId="{9662D791-FED1-4569-9FAA-C03C89E59D44}" type="pres">
      <dgm:prSet presAssocID="{1660D654-953F-425F-88BA-70D4555DDEDB}" presName="ChildAccent" presStyleLbl="solidFgAcc1" presStyleIdx="2" presStyleCnt="7"/>
      <dgm:spPr/>
    </dgm:pt>
    <dgm:pt modelId="{6A95187F-F245-45AF-B3B8-AF1EC8E8E0E0}" type="pres">
      <dgm:prSet presAssocID="{1660D654-953F-425F-88BA-70D4555DDEDB}" presName="Child" presStyleLbl="revTx" presStyleIdx="3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E16545-9DA9-465C-BD14-EF784D506044}" type="pres">
      <dgm:prSet presAssocID="{F9FA615C-4637-4D63-A040-F92A9C5F6633}" presName="root" presStyleCnt="0">
        <dgm:presLayoutVars>
          <dgm:chMax/>
          <dgm:chPref/>
        </dgm:presLayoutVars>
      </dgm:prSet>
      <dgm:spPr/>
    </dgm:pt>
    <dgm:pt modelId="{502EA1B4-8641-420A-BA5F-E11A4923F48A}" type="pres">
      <dgm:prSet presAssocID="{F9FA615C-4637-4D63-A040-F92A9C5F6633}" presName="rootComposite" presStyleCnt="0">
        <dgm:presLayoutVars/>
      </dgm:prSet>
      <dgm:spPr/>
    </dgm:pt>
    <dgm:pt modelId="{90F8840B-6686-4E9E-A476-3D0E6CA8B660}" type="pres">
      <dgm:prSet presAssocID="{F9FA615C-4637-4D63-A040-F92A9C5F6633}" presName="ParentAccent" presStyleLbl="alignNode1" presStyleIdx="1" presStyleCnt="2"/>
      <dgm:spPr/>
    </dgm:pt>
    <dgm:pt modelId="{8554245F-41A4-4403-A3BF-14C89EADF782}" type="pres">
      <dgm:prSet presAssocID="{F9FA615C-4637-4D63-A040-F92A9C5F6633}" presName="ParentSmallAccent" presStyleLbl="fgAcc1" presStyleIdx="1" presStyleCnt="2"/>
      <dgm:spPr/>
    </dgm:pt>
    <dgm:pt modelId="{812771C7-1D01-4E75-9EB0-02665AD36A70}" type="pres">
      <dgm:prSet presAssocID="{F9FA615C-4637-4D63-A040-F92A9C5F6633}" presName="Parent" presStyleLbl="revTx" presStyleIdx="4" presStyleCnt="9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850FC8-3EA6-4A01-B639-86FF362C48FC}" type="pres">
      <dgm:prSet presAssocID="{F9FA615C-4637-4D63-A040-F92A9C5F6633}" presName="childShape" presStyleCnt="0">
        <dgm:presLayoutVars>
          <dgm:chMax val="0"/>
          <dgm:chPref val="0"/>
        </dgm:presLayoutVars>
      </dgm:prSet>
      <dgm:spPr/>
    </dgm:pt>
    <dgm:pt modelId="{5765FDB1-9847-46B4-98BB-1B7426656549}" type="pres">
      <dgm:prSet presAssocID="{820E8F53-E1B5-4938-A6E6-1D1726405DAD}" presName="childComposite" presStyleCnt="0">
        <dgm:presLayoutVars>
          <dgm:chMax val="0"/>
          <dgm:chPref val="0"/>
        </dgm:presLayoutVars>
      </dgm:prSet>
      <dgm:spPr/>
    </dgm:pt>
    <dgm:pt modelId="{0F0F4FB2-86F5-4737-86C3-0A524157EC7D}" type="pres">
      <dgm:prSet presAssocID="{820E8F53-E1B5-4938-A6E6-1D1726405DAD}" presName="ChildAccent" presStyleLbl="solidFgAcc1" presStyleIdx="3" presStyleCnt="7"/>
      <dgm:spPr/>
    </dgm:pt>
    <dgm:pt modelId="{F40A2A50-F215-4CAF-BC0D-88C961019427}" type="pres">
      <dgm:prSet presAssocID="{820E8F53-E1B5-4938-A6E6-1D1726405DAD}" presName="Child" presStyleLbl="revTx" presStyleIdx="5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E93B61-FC43-4F2A-B571-7D03158349E6}" type="pres">
      <dgm:prSet presAssocID="{9AF55192-9CF1-41CB-A44C-2ED36DF45344}" presName="childComposite" presStyleCnt="0">
        <dgm:presLayoutVars>
          <dgm:chMax val="0"/>
          <dgm:chPref val="0"/>
        </dgm:presLayoutVars>
      </dgm:prSet>
      <dgm:spPr/>
    </dgm:pt>
    <dgm:pt modelId="{AAD6AD38-BE59-4116-8B18-29F16DA9913F}" type="pres">
      <dgm:prSet presAssocID="{9AF55192-9CF1-41CB-A44C-2ED36DF45344}" presName="ChildAccent" presStyleLbl="solidFgAcc1" presStyleIdx="4" presStyleCnt="7"/>
      <dgm:spPr/>
    </dgm:pt>
    <dgm:pt modelId="{C4FC1219-E563-44D4-A361-13A584652096}" type="pres">
      <dgm:prSet presAssocID="{9AF55192-9CF1-41CB-A44C-2ED36DF45344}" presName="Child" presStyleLbl="revTx" presStyleIdx="6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85A6A4-4DF0-45F1-9634-830E9DA5708B}" type="pres">
      <dgm:prSet presAssocID="{3612D1EF-D591-4FEB-AB7A-D30313F329E5}" presName="childComposite" presStyleCnt="0">
        <dgm:presLayoutVars>
          <dgm:chMax val="0"/>
          <dgm:chPref val="0"/>
        </dgm:presLayoutVars>
      </dgm:prSet>
      <dgm:spPr/>
    </dgm:pt>
    <dgm:pt modelId="{6A6E65E8-28EC-4D26-AAEF-289F70B90A88}" type="pres">
      <dgm:prSet presAssocID="{3612D1EF-D591-4FEB-AB7A-D30313F329E5}" presName="ChildAccent" presStyleLbl="solidFgAcc1" presStyleIdx="5" presStyleCnt="7"/>
      <dgm:spPr/>
    </dgm:pt>
    <dgm:pt modelId="{A72413C4-30C2-408B-9509-83E26B0A5692}" type="pres">
      <dgm:prSet presAssocID="{3612D1EF-D591-4FEB-AB7A-D30313F329E5}" presName="Child" presStyleLbl="revTx" presStyleIdx="7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764831-DE80-4A8D-97E6-B3968C6ADE1C}" type="pres">
      <dgm:prSet presAssocID="{E6676DB9-BA9D-4997-B12B-44D8181FADDD}" presName="childComposite" presStyleCnt="0">
        <dgm:presLayoutVars>
          <dgm:chMax val="0"/>
          <dgm:chPref val="0"/>
        </dgm:presLayoutVars>
      </dgm:prSet>
      <dgm:spPr/>
    </dgm:pt>
    <dgm:pt modelId="{DFDF73DC-FF12-4595-A73D-F0DF942C4D2A}" type="pres">
      <dgm:prSet presAssocID="{E6676DB9-BA9D-4997-B12B-44D8181FADDD}" presName="ChildAccent" presStyleLbl="solidFgAcc1" presStyleIdx="6" presStyleCnt="7"/>
      <dgm:spPr/>
    </dgm:pt>
    <dgm:pt modelId="{93A07B8A-F64C-4A44-B4D1-6BFE755D1A7B}" type="pres">
      <dgm:prSet presAssocID="{E6676DB9-BA9D-4997-B12B-44D8181FADDD}" presName="Child" presStyleLbl="revTx" presStyleIdx="8" presStyleCnt="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465B5E-0469-4AE3-A122-D1056236628C}" type="presOf" srcId="{472666F9-485C-4233-8EB7-4FCFF3C52F71}" destId="{598B6F0A-F087-4099-B100-A965595C2AF1}" srcOrd="0" destOrd="0" presId="urn:microsoft.com/office/officeart/2008/layout/SquareAccentList"/>
    <dgm:cxn modelId="{A95388EF-9B1E-4D44-A456-48B47E37B8CF}" type="presOf" srcId="{9A910473-D02A-4FD9-882D-DC6346AEF6AD}" destId="{FA109DCE-A179-452D-8AF7-05C73444D245}" srcOrd="0" destOrd="0" presId="urn:microsoft.com/office/officeart/2008/layout/SquareAccentList"/>
    <dgm:cxn modelId="{AC54A617-154D-43B3-B857-974FA443CEF8}" srcId="{472666F9-485C-4233-8EB7-4FCFF3C52F71}" destId="{8A93A590-00BE-4CA8-AD62-625E7D298AA6}" srcOrd="0" destOrd="0" parTransId="{E04FCA82-3A35-463A-93D5-8563E557B6CF}" sibTransId="{22FB8EEA-2A82-4E42-84E1-27D0A2E69AC5}"/>
    <dgm:cxn modelId="{36663FC4-B3FA-4C46-8F65-31F877BC298E}" type="presOf" srcId="{3612D1EF-D591-4FEB-AB7A-D30313F329E5}" destId="{A72413C4-30C2-408B-9509-83E26B0A5692}" srcOrd="0" destOrd="0" presId="urn:microsoft.com/office/officeart/2008/layout/SquareAccentList"/>
    <dgm:cxn modelId="{0CDF9A3E-A3F6-450A-9CDC-2EF15C272F58}" srcId="{F9FA615C-4637-4D63-A040-F92A9C5F6633}" destId="{E6676DB9-BA9D-4997-B12B-44D8181FADDD}" srcOrd="3" destOrd="0" parTransId="{0752FF57-EFEC-4BD8-BF95-BAE6085DEFCD}" sibTransId="{DCF364D6-24DE-432C-893F-EFAB349CCF96}"/>
    <dgm:cxn modelId="{836B102C-90B2-470D-9439-7D0470A1F9F3}" type="presOf" srcId="{820E8F53-E1B5-4938-A6E6-1D1726405DAD}" destId="{F40A2A50-F215-4CAF-BC0D-88C961019427}" srcOrd="0" destOrd="0" presId="urn:microsoft.com/office/officeart/2008/layout/SquareAccentList"/>
    <dgm:cxn modelId="{96BB11A3-99BE-4DCD-B7E3-7862A6D80357}" srcId="{8A93A590-00BE-4CA8-AD62-625E7D298AA6}" destId="{16E169E5-66B6-4136-B729-11C6E015FB9D}" srcOrd="1" destOrd="0" parTransId="{5A5445B7-2C80-4A2A-88D2-AA39306BC4E4}" sibTransId="{DCD45C4C-D847-47C5-A47B-C0D2187792B9}"/>
    <dgm:cxn modelId="{DBAA4AA6-929E-430B-AD3A-C368B58ABBB8}" srcId="{8A93A590-00BE-4CA8-AD62-625E7D298AA6}" destId="{9A910473-D02A-4FD9-882D-DC6346AEF6AD}" srcOrd="0" destOrd="0" parTransId="{F5F65F50-B96C-4A18-81D4-760E806405F5}" sibTransId="{D8B7826B-324C-4B4B-8190-327246E7DB19}"/>
    <dgm:cxn modelId="{EEFF3FB1-5416-4679-BF4E-DE29CB81D442}" srcId="{472666F9-485C-4233-8EB7-4FCFF3C52F71}" destId="{F9FA615C-4637-4D63-A040-F92A9C5F6633}" srcOrd="1" destOrd="0" parTransId="{6F7965C7-0FF5-440E-B129-EF4ABEAD6781}" sibTransId="{CCFEAD54-5F88-4905-9249-2597D5B039D6}"/>
    <dgm:cxn modelId="{8914BE44-1031-40A5-9B69-74870C4A1306}" type="presOf" srcId="{9AF55192-9CF1-41CB-A44C-2ED36DF45344}" destId="{C4FC1219-E563-44D4-A361-13A584652096}" srcOrd="0" destOrd="0" presId="urn:microsoft.com/office/officeart/2008/layout/SquareAccentList"/>
    <dgm:cxn modelId="{F79F6D77-0CFE-485B-8902-0A700582B45B}" srcId="{F9FA615C-4637-4D63-A040-F92A9C5F6633}" destId="{820E8F53-E1B5-4938-A6E6-1D1726405DAD}" srcOrd="0" destOrd="0" parTransId="{E42CCA89-79F1-4679-A420-924E8871366D}" sibTransId="{AAD4914A-8C95-4943-AC52-88F5AB333830}"/>
    <dgm:cxn modelId="{7218B17E-6883-4017-A3F0-5BE1F360B468}" type="presOf" srcId="{8A93A590-00BE-4CA8-AD62-625E7D298AA6}" destId="{569A2A7C-A513-4D62-8C09-B7EB226C4D5B}" srcOrd="0" destOrd="0" presId="urn:microsoft.com/office/officeart/2008/layout/SquareAccentList"/>
    <dgm:cxn modelId="{A3509785-D91A-4F3F-B24A-AFD4211516B0}" type="presOf" srcId="{16E169E5-66B6-4136-B729-11C6E015FB9D}" destId="{A449C9E4-6DC8-4245-9AB3-0BBD0C398BE1}" srcOrd="0" destOrd="0" presId="urn:microsoft.com/office/officeart/2008/layout/SquareAccentList"/>
    <dgm:cxn modelId="{22640B9E-AEDD-4133-821B-96E9F2A43439}" type="presOf" srcId="{E6676DB9-BA9D-4997-B12B-44D8181FADDD}" destId="{93A07B8A-F64C-4A44-B4D1-6BFE755D1A7B}" srcOrd="0" destOrd="0" presId="urn:microsoft.com/office/officeart/2008/layout/SquareAccentList"/>
    <dgm:cxn modelId="{F687A21F-0677-4C90-A66C-F8BFC5883281}" srcId="{8A93A590-00BE-4CA8-AD62-625E7D298AA6}" destId="{1660D654-953F-425F-88BA-70D4555DDEDB}" srcOrd="2" destOrd="0" parTransId="{9266690C-A291-4D6D-BD88-6BC1DF938C3B}" sibTransId="{6D8DC3BF-2F8A-4BB0-ACF4-29CCC2DE30A2}"/>
    <dgm:cxn modelId="{731AC4DC-EE86-45B6-9653-6B710C60264A}" srcId="{F9FA615C-4637-4D63-A040-F92A9C5F6633}" destId="{9AF55192-9CF1-41CB-A44C-2ED36DF45344}" srcOrd="1" destOrd="0" parTransId="{8B5717AE-4611-4E99-BCA9-E04D838070B5}" sibTransId="{7D1A2920-359B-4E6A-A45B-BD82906A3E59}"/>
    <dgm:cxn modelId="{3209E978-D6AF-4C5A-8740-C34EB63EEB33}" type="presOf" srcId="{F9FA615C-4637-4D63-A040-F92A9C5F6633}" destId="{812771C7-1D01-4E75-9EB0-02665AD36A70}" srcOrd="0" destOrd="0" presId="urn:microsoft.com/office/officeart/2008/layout/SquareAccentList"/>
    <dgm:cxn modelId="{FAC27ECA-1985-4C3B-9EEB-9587D3D2E85B}" type="presOf" srcId="{1660D654-953F-425F-88BA-70D4555DDEDB}" destId="{6A95187F-F245-45AF-B3B8-AF1EC8E8E0E0}" srcOrd="0" destOrd="0" presId="urn:microsoft.com/office/officeart/2008/layout/SquareAccentList"/>
    <dgm:cxn modelId="{A044BDE3-DBB9-4AFB-8264-8FCEFC77B70B}" srcId="{F9FA615C-4637-4D63-A040-F92A9C5F6633}" destId="{3612D1EF-D591-4FEB-AB7A-D30313F329E5}" srcOrd="2" destOrd="0" parTransId="{F79943E5-743A-45FC-AF19-3BEA45C575DF}" sibTransId="{28F7AD24-0B6F-433B-84BB-C8DE9D90E476}"/>
    <dgm:cxn modelId="{5EB9327F-D389-459D-8211-8B0662C76865}" type="presParOf" srcId="{598B6F0A-F087-4099-B100-A965595C2AF1}" destId="{2392A457-A424-46EB-AD21-A73B70FAFAFC}" srcOrd="0" destOrd="0" presId="urn:microsoft.com/office/officeart/2008/layout/SquareAccentList"/>
    <dgm:cxn modelId="{0E90876B-ABA7-49B7-9E10-35BC0BC6D895}" type="presParOf" srcId="{2392A457-A424-46EB-AD21-A73B70FAFAFC}" destId="{F29AF4B2-516F-4430-9C90-D83BF5DC58E7}" srcOrd="0" destOrd="0" presId="urn:microsoft.com/office/officeart/2008/layout/SquareAccentList"/>
    <dgm:cxn modelId="{B95F9304-7D88-4378-9DDE-A6CF5B9575D0}" type="presParOf" srcId="{F29AF4B2-516F-4430-9C90-D83BF5DC58E7}" destId="{C4D0BB60-8287-4495-AC0B-A013EE53C8C4}" srcOrd="0" destOrd="0" presId="urn:microsoft.com/office/officeart/2008/layout/SquareAccentList"/>
    <dgm:cxn modelId="{4161FA29-4809-409B-B9F5-912125B59900}" type="presParOf" srcId="{F29AF4B2-516F-4430-9C90-D83BF5DC58E7}" destId="{7712C66E-2456-4103-BA98-74190CBEB2D9}" srcOrd="1" destOrd="0" presId="urn:microsoft.com/office/officeart/2008/layout/SquareAccentList"/>
    <dgm:cxn modelId="{32B1C12B-D33E-4B26-93CE-35E24453A47C}" type="presParOf" srcId="{F29AF4B2-516F-4430-9C90-D83BF5DC58E7}" destId="{569A2A7C-A513-4D62-8C09-B7EB226C4D5B}" srcOrd="2" destOrd="0" presId="urn:microsoft.com/office/officeart/2008/layout/SquareAccentList"/>
    <dgm:cxn modelId="{4B161FA5-FD4D-4AC3-978D-4A1CA48AB581}" type="presParOf" srcId="{2392A457-A424-46EB-AD21-A73B70FAFAFC}" destId="{F12E1794-71C5-4E6D-9668-8D4F5A1EE8C8}" srcOrd="1" destOrd="0" presId="urn:microsoft.com/office/officeart/2008/layout/SquareAccentList"/>
    <dgm:cxn modelId="{70105F40-C826-47A3-8081-ABF6AD8A1B60}" type="presParOf" srcId="{F12E1794-71C5-4E6D-9668-8D4F5A1EE8C8}" destId="{A18F5642-0FC9-433C-BD41-E66BF792973C}" srcOrd="0" destOrd="0" presId="urn:microsoft.com/office/officeart/2008/layout/SquareAccentList"/>
    <dgm:cxn modelId="{810FBC4C-FEB7-472E-B5D5-3D8CA612DD79}" type="presParOf" srcId="{A18F5642-0FC9-433C-BD41-E66BF792973C}" destId="{A920C810-D233-4542-8593-176CAB4BCB04}" srcOrd="0" destOrd="0" presId="urn:microsoft.com/office/officeart/2008/layout/SquareAccentList"/>
    <dgm:cxn modelId="{6824B999-1EF2-4700-A879-DEA4C6D256CC}" type="presParOf" srcId="{A18F5642-0FC9-433C-BD41-E66BF792973C}" destId="{FA109DCE-A179-452D-8AF7-05C73444D245}" srcOrd="1" destOrd="0" presId="urn:microsoft.com/office/officeart/2008/layout/SquareAccentList"/>
    <dgm:cxn modelId="{F01A7AF6-8659-49A4-A0D1-F67C13E73E24}" type="presParOf" srcId="{F12E1794-71C5-4E6D-9668-8D4F5A1EE8C8}" destId="{941EABA0-5ECC-472C-A88F-780F6C90A8CB}" srcOrd="1" destOrd="0" presId="urn:microsoft.com/office/officeart/2008/layout/SquareAccentList"/>
    <dgm:cxn modelId="{D9FECBE6-E581-4A24-A8DE-7C11F97DCA59}" type="presParOf" srcId="{941EABA0-5ECC-472C-A88F-780F6C90A8CB}" destId="{DC7C380D-4EE3-4F77-9055-DA77049E6E20}" srcOrd="0" destOrd="0" presId="urn:microsoft.com/office/officeart/2008/layout/SquareAccentList"/>
    <dgm:cxn modelId="{922D00AC-341F-4473-BD51-BD2E3AC17F57}" type="presParOf" srcId="{941EABA0-5ECC-472C-A88F-780F6C90A8CB}" destId="{A449C9E4-6DC8-4245-9AB3-0BBD0C398BE1}" srcOrd="1" destOrd="0" presId="urn:microsoft.com/office/officeart/2008/layout/SquareAccentList"/>
    <dgm:cxn modelId="{ACD0BCB3-B45C-4F4D-898E-8CC2D40332BF}" type="presParOf" srcId="{F12E1794-71C5-4E6D-9668-8D4F5A1EE8C8}" destId="{956070B7-D83B-4776-8977-16120FBD81F9}" srcOrd="2" destOrd="0" presId="urn:microsoft.com/office/officeart/2008/layout/SquareAccentList"/>
    <dgm:cxn modelId="{DE8A4D16-849F-4B6E-AD56-6CA03FA949AE}" type="presParOf" srcId="{956070B7-D83B-4776-8977-16120FBD81F9}" destId="{9662D791-FED1-4569-9FAA-C03C89E59D44}" srcOrd="0" destOrd="0" presId="urn:microsoft.com/office/officeart/2008/layout/SquareAccentList"/>
    <dgm:cxn modelId="{8F179A25-D7CF-4508-B19D-03227D065847}" type="presParOf" srcId="{956070B7-D83B-4776-8977-16120FBD81F9}" destId="{6A95187F-F245-45AF-B3B8-AF1EC8E8E0E0}" srcOrd="1" destOrd="0" presId="urn:microsoft.com/office/officeart/2008/layout/SquareAccentList"/>
    <dgm:cxn modelId="{F0FA877A-94E7-44AA-80C3-F50C3077903D}" type="presParOf" srcId="{598B6F0A-F087-4099-B100-A965595C2AF1}" destId="{11E16545-9DA9-465C-BD14-EF784D506044}" srcOrd="1" destOrd="0" presId="urn:microsoft.com/office/officeart/2008/layout/SquareAccentList"/>
    <dgm:cxn modelId="{B94FCA1A-4CFE-48AD-9678-D67E6B8BB033}" type="presParOf" srcId="{11E16545-9DA9-465C-BD14-EF784D506044}" destId="{502EA1B4-8641-420A-BA5F-E11A4923F48A}" srcOrd="0" destOrd="0" presId="urn:microsoft.com/office/officeart/2008/layout/SquareAccentList"/>
    <dgm:cxn modelId="{9CFFD34D-79C1-48A9-B5C7-23A1B94AE011}" type="presParOf" srcId="{502EA1B4-8641-420A-BA5F-E11A4923F48A}" destId="{90F8840B-6686-4E9E-A476-3D0E6CA8B660}" srcOrd="0" destOrd="0" presId="urn:microsoft.com/office/officeart/2008/layout/SquareAccentList"/>
    <dgm:cxn modelId="{F17C1217-604F-435F-892F-831E0C706547}" type="presParOf" srcId="{502EA1B4-8641-420A-BA5F-E11A4923F48A}" destId="{8554245F-41A4-4403-A3BF-14C89EADF782}" srcOrd="1" destOrd="0" presId="urn:microsoft.com/office/officeart/2008/layout/SquareAccentList"/>
    <dgm:cxn modelId="{9BE8CE70-9B87-49BE-B6F5-9DE20C42281C}" type="presParOf" srcId="{502EA1B4-8641-420A-BA5F-E11A4923F48A}" destId="{812771C7-1D01-4E75-9EB0-02665AD36A70}" srcOrd="2" destOrd="0" presId="urn:microsoft.com/office/officeart/2008/layout/SquareAccentList"/>
    <dgm:cxn modelId="{2AF713BD-D4FD-4AD3-AF33-E976D83535B2}" type="presParOf" srcId="{11E16545-9DA9-465C-BD14-EF784D506044}" destId="{FA850FC8-3EA6-4A01-B639-86FF362C48FC}" srcOrd="1" destOrd="0" presId="urn:microsoft.com/office/officeart/2008/layout/SquareAccentList"/>
    <dgm:cxn modelId="{A2376EF2-99EB-4286-9C9E-50A322AE6A6B}" type="presParOf" srcId="{FA850FC8-3EA6-4A01-B639-86FF362C48FC}" destId="{5765FDB1-9847-46B4-98BB-1B7426656549}" srcOrd="0" destOrd="0" presId="urn:microsoft.com/office/officeart/2008/layout/SquareAccentList"/>
    <dgm:cxn modelId="{0C145534-9C00-45C2-A88C-F8DA0F5376B8}" type="presParOf" srcId="{5765FDB1-9847-46B4-98BB-1B7426656549}" destId="{0F0F4FB2-86F5-4737-86C3-0A524157EC7D}" srcOrd="0" destOrd="0" presId="urn:microsoft.com/office/officeart/2008/layout/SquareAccentList"/>
    <dgm:cxn modelId="{ADCA9694-CE88-4301-8765-1EC85EBDA877}" type="presParOf" srcId="{5765FDB1-9847-46B4-98BB-1B7426656549}" destId="{F40A2A50-F215-4CAF-BC0D-88C961019427}" srcOrd="1" destOrd="0" presId="urn:microsoft.com/office/officeart/2008/layout/SquareAccentList"/>
    <dgm:cxn modelId="{03483875-3746-4872-BF78-CDF0B8482997}" type="presParOf" srcId="{FA850FC8-3EA6-4A01-B639-86FF362C48FC}" destId="{16E93B61-FC43-4F2A-B571-7D03158349E6}" srcOrd="1" destOrd="0" presId="urn:microsoft.com/office/officeart/2008/layout/SquareAccentList"/>
    <dgm:cxn modelId="{41C8A24E-81BF-48CE-B434-BACAAC895653}" type="presParOf" srcId="{16E93B61-FC43-4F2A-B571-7D03158349E6}" destId="{AAD6AD38-BE59-4116-8B18-29F16DA9913F}" srcOrd="0" destOrd="0" presId="urn:microsoft.com/office/officeart/2008/layout/SquareAccentList"/>
    <dgm:cxn modelId="{66E19BFC-4CAD-4134-859C-E7842CD2A613}" type="presParOf" srcId="{16E93B61-FC43-4F2A-B571-7D03158349E6}" destId="{C4FC1219-E563-44D4-A361-13A584652096}" srcOrd="1" destOrd="0" presId="urn:microsoft.com/office/officeart/2008/layout/SquareAccentList"/>
    <dgm:cxn modelId="{4E80B178-3207-4535-B76F-2C1741BC7FE9}" type="presParOf" srcId="{FA850FC8-3EA6-4A01-B639-86FF362C48FC}" destId="{7585A6A4-4DF0-45F1-9634-830E9DA5708B}" srcOrd="2" destOrd="0" presId="urn:microsoft.com/office/officeart/2008/layout/SquareAccentList"/>
    <dgm:cxn modelId="{854D8006-590C-4731-A604-A8342937AB00}" type="presParOf" srcId="{7585A6A4-4DF0-45F1-9634-830E9DA5708B}" destId="{6A6E65E8-28EC-4D26-AAEF-289F70B90A88}" srcOrd="0" destOrd="0" presId="urn:microsoft.com/office/officeart/2008/layout/SquareAccentList"/>
    <dgm:cxn modelId="{2FB5834E-217D-49A0-B8FB-ADC68A0B5ECC}" type="presParOf" srcId="{7585A6A4-4DF0-45F1-9634-830E9DA5708B}" destId="{A72413C4-30C2-408B-9509-83E26B0A5692}" srcOrd="1" destOrd="0" presId="urn:microsoft.com/office/officeart/2008/layout/SquareAccentList"/>
    <dgm:cxn modelId="{5AB73F86-7515-4219-B538-F1F4841DF881}" type="presParOf" srcId="{FA850FC8-3EA6-4A01-B639-86FF362C48FC}" destId="{76764831-DE80-4A8D-97E6-B3968C6ADE1C}" srcOrd="3" destOrd="0" presId="urn:microsoft.com/office/officeart/2008/layout/SquareAccentList"/>
    <dgm:cxn modelId="{D852F3C2-5702-41AE-B9BC-84890A34EF08}" type="presParOf" srcId="{76764831-DE80-4A8D-97E6-B3968C6ADE1C}" destId="{DFDF73DC-FF12-4595-A73D-F0DF942C4D2A}" srcOrd="0" destOrd="0" presId="urn:microsoft.com/office/officeart/2008/layout/SquareAccentList"/>
    <dgm:cxn modelId="{D74DB6EB-7B8F-4911-9CAA-0A9201D032B5}" type="presParOf" srcId="{76764831-DE80-4A8D-97E6-B3968C6ADE1C}" destId="{93A07B8A-F64C-4A44-B4D1-6BFE755D1A7B}" srcOrd="1" destOrd="0" presId="urn:microsoft.com/office/officeart/2008/layout/SquareAccentList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7FDD59D-A0D1-463B-8B85-FC447B96C72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C81FAF4-3ED1-4F4C-97E9-9340AA4F382C}">
      <dgm:prSet phldrT="[Текст]"/>
      <dgm:spPr/>
      <dgm:t>
        <a:bodyPr/>
        <a:lstStyle/>
        <a:p>
          <a:r>
            <a:rPr lang="ru-RU" dirty="0"/>
            <a:t>11-13 января 2022 – </a:t>
          </a:r>
        </a:p>
        <a:p>
          <a:r>
            <a:rPr lang="ru-RU" dirty="0"/>
            <a:t>2-я часть вводного курса</a:t>
          </a:r>
        </a:p>
      </dgm:t>
    </dgm:pt>
    <dgm:pt modelId="{72E28B71-2856-4F5C-8DA6-24A12C9E9CC4}" type="parTrans" cxnId="{4D48193A-0E2F-45E9-AAAD-0EFFA11AB06F}">
      <dgm:prSet/>
      <dgm:spPr/>
      <dgm:t>
        <a:bodyPr/>
        <a:lstStyle/>
        <a:p>
          <a:endParaRPr lang="ru-RU"/>
        </a:p>
      </dgm:t>
    </dgm:pt>
    <dgm:pt modelId="{BCD75EA2-F15B-437C-9D5B-66FC18B65677}" type="sibTrans" cxnId="{4D48193A-0E2F-45E9-AAAD-0EFFA11AB06F}">
      <dgm:prSet/>
      <dgm:spPr/>
      <dgm:t>
        <a:bodyPr/>
        <a:lstStyle/>
        <a:p>
          <a:endParaRPr lang="ru-RU"/>
        </a:p>
      </dgm:t>
    </dgm:pt>
    <dgm:pt modelId="{97AB39A5-37BB-4450-982F-1F2D5535C9ED}">
      <dgm:prSet phldrT="[Текст]"/>
      <dgm:spPr/>
      <dgm:t>
        <a:bodyPr/>
        <a:lstStyle/>
        <a:p>
          <a:r>
            <a:rPr lang="ru-RU" dirty="0"/>
            <a:t>23-29 декабря 2021 – </a:t>
          </a:r>
        </a:p>
        <a:p>
          <a:r>
            <a:rPr lang="ru-RU" dirty="0"/>
            <a:t>1-я часть вводного курса</a:t>
          </a:r>
        </a:p>
      </dgm:t>
    </dgm:pt>
    <dgm:pt modelId="{00FD473E-3A32-493E-BAEB-E4B72C55649F}" type="parTrans" cxnId="{E7799A64-D3D9-4001-B9A3-93FA207F3D4B}">
      <dgm:prSet/>
      <dgm:spPr/>
      <dgm:t>
        <a:bodyPr/>
        <a:lstStyle/>
        <a:p>
          <a:endParaRPr lang="ru-RU"/>
        </a:p>
      </dgm:t>
    </dgm:pt>
    <dgm:pt modelId="{C421E91A-B20A-4BCB-AC03-509BB6281C10}" type="sibTrans" cxnId="{E7799A64-D3D9-4001-B9A3-93FA207F3D4B}">
      <dgm:prSet/>
      <dgm:spPr/>
      <dgm:t>
        <a:bodyPr/>
        <a:lstStyle/>
        <a:p>
          <a:endParaRPr lang="ru-RU"/>
        </a:p>
      </dgm:t>
    </dgm:pt>
    <dgm:pt modelId="{07DB9580-F436-4AF3-B00C-46395BC92F7E}">
      <dgm:prSet phldrT="[Текст]"/>
      <dgm:spPr/>
      <dgm:t>
        <a:bodyPr/>
        <a:lstStyle/>
        <a:p>
          <a:r>
            <a:rPr lang="ru-RU" dirty="0"/>
            <a:t>13-22 декабря 2021 – установочные встречи со школьниками </a:t>
          </a:r>
        </a:p>
      </dgm:t>
    </dgm:pt>
    <dgm:pt modelId="{D14A5FE8-7772-47D0-8000-CC6A7C123D56}" type="parTrans" cxnId="{1061063C-C031-43FF-8303-2DDBE88A17D1}">
      <dgm:prSet/>
      <dgm:spPr/>
      <dgm:t>
        <a:bodyPr/>
        <a:lstStyle/>
        <a:p>
          <a:endParaRPr lang="ru-RU"/>
        </a:p>
      </dgm:t>
    </dgm:pt>
    <dgm:pt modelId="{F9EE6CF8-71F7-489F-BE5F-185155774319}" type="sibTrans" cxnId="{1061063C-C031-43FF-8303-2DDBE88A17D1}">
      <dgm:prSet/>
      <dgm:spPr/>
      <dgm:t>
        <a:bodyPr/>
        <a:lstStyle/>
        <a:p>
          <a:endParaRPr lang="ru-RU"/>
        </a:p>
      </dgm:t>
    </dgm:pt>
    <dgm:pt modelId="{88BD1C50-8D6B-428A-A5F2-017FAB20C53C}">
      <dgm:prSet phldrT="[Текст]"/>
      <dgm:spPr/>
      <dgm:t>
        <a:bodyPr/>
        <a:lstStyle/>
        <a:p>
          <a:r>
            <a:rPr lang="ru-RU" dirty="0"/>
            <a:t>15 января – конкурсный отбор</a:t>
          </a:r>
        </a:p>
      </dgm:t>
    </dgm:pt>
    <dgm:pt modelId="{B23D4D83-2019-4CB5-9F87-F47C97069182}" type="parTrans" cxnId="{A7CB9F77-0312-4E39-9CED-5FCC2D464A22}">
      <dgm:prSet/>
      <dgm:spPr/>
      <dgm:t>
        <a:bodyPr/>
        <a:lstStyle/>
        <a:p>
          <a:endParaRPr lang="ru-RU"/>
        </a:p>
      </dgm:t>
    </dgm:pt>
    <dgm:pt modelId="{C3E84346-2D93-4281-AA4A-EEC6454A0254}" type="sibTrans" cxnId="{A7CB9F77-0312-4E39-9CED-5FCC2D464A22}">
      <dgm:prSet/>
      <dgm:spPr/>
      <dgm:t>
        <a:bodyPr/>
        <a:lstStyle/>
        <a:p>
          <a:endParaRPr lang="ru-RU"/>
        </a:p>
      </dgm:t>
    </dgm:pt>
    <dgm:pt modelId="{2034C4AE-BE8F-40AF-A1AB-918B44DD3FD8}" type="pres">
      <dgm:prSet presAssocID="{97FDD59D-A0D1-463B-8B85-FC447B96C72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6AE1699-096C-4132-9657-DC24F757A74F}" type="pres">
      <dgm:prSet presAssocID="{97FDD59D-A0D1-463B-8B85-FC447B96C723}" presName="Name1" presStyleCnt="0"/>
      <dgm:spPr/>
    </dgm:pt>
    <dgm:pt modelId="{4EE8C90D-7923-45FF-A635-597C722D3CB7}" type="pres">
      <dgm:prSet presAssocID="{97FDD59D-A0D1-463B-8B85-FC447B96C723}" presName="cycle" presStyleCnt="0"/>
      <dgm:spPr/>
    </dgm:pt>
    <dgm:pt modelId="{25FD08E9-E7CF-4ADC-95B7-F95DC8EF1259}" type="pres">
      <dgm:prSet presAssocID="{97FDD59D-A0D1-463B-8B85-FC447B96C723}" presName="srcNode" presStyleLbl="node1" presStyleIdx="0" presStyleCnt="4"/>
      <dgm:spPr/>
    </dgm:pt>
    <dgm:pt modelId="{DF671E0C-F06B-4905-8D8F-8F3249F78F83}" type="pres">
      <dgm:prSet presAssocID="{97FDD59D-A0D1-463B-8B85-FC447B96C723}" presName="conn" presStyleLbl="parChTrans1D2" presStyleIdx="0" presStyleCnt="1"/>
      <dgm:spPr/>
      <dgm:t>
        <a:bodyPr/>
        <a:lstStyle/>
        <a:p>
          <a:endParaRPr lang="ru-RU"/>
        </a:p>
      </dgm:t>
    </dgm:pt>
    <dgm:pt modelId="{F6EAC59E-545E-4B9A-A099-B3E25B831AF9}" type="pres">
      <dgm:prSet presAssocID="{97FDD59D-A0D1-463B-8B85-FC447B96C723}" presName="extraNode" presStyleLbl="node1" presStyleIdx="0" presStyleCnt="4"/>
      <dgm:spPr/>
    </dgm:pt>
    <dgm:pt modelId="{F8D3C26F-A534-4E8A-94F3-B1C6A9D510B6}" type="pres">
      <dgm:prSet presAssocID="{97FDD59D-A0D1-463B-8B85-FC447B96C723}" presName="dstNode" presStyleLbl="node1" presStyleIdx="0" presStyleCnt="4"/>
      <dgm:spPr/>
    </dgm:pt>
    <dgm:pt modelId="{01A9BE78-AA73-46E4-98F7-2B436B68E9C9}" type="pres">
      <dgm:prSet presAssocID="{07DB9580-F436-4AF3-B00C-46395BC92F7E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DA0415-A01C-449C-9FD2-BF822CCCA02E}" type="pres">
      <dgm:prSet presAssocID="{07DB9580-F436-4AF3-B00C-46395BC92F7E}" presName="accent_1" presStyleCnt="0"/>
      <dgm:spPr/>
    </dgm:pt>
    <dgm:pt modelId="{08C36494-B626-42A2-8C47-3B58514DF434}" type="pres">
      <dgm:prSet presAssocID="{07DB9580-F436-4AF3-B00C-46395BC92F7E}" presName="accentRepeatNode" presStyleLbl="solidFgAcc1" presStyleIdx="0" presStyleCnt="4"/>
      <dgm:spPr/>
    </dgm:pt>
    <dgm:pt modelId="{E654B430-A393-4A45-8517-6881902320A3}" type="pres">
      <dgm:prSet presAssocID="{97AB39A5-37BB-4450-982F-1F2D5535C9ED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601BA4-4C9D-4100-B6C6-56A6E0D232E8}" type="pres">
      <dgm:prSet presAssocID="{97AB39A5-37BB-4450-982F-1F2D5535C9ED}" presName="accent_2" presStyleCnt="0"/>
      <dgm:spPr/>
    </dgm:pt>
    <dgm:pt modelId="{2415D943-CF76-4D3F-9585-1CD0C6300DDD}" type="pres">
      <dgm:prSet presAssocID="{97AB39A5-37BB-4450-982F-1F2D5535C9ED}" presName="accentRepeatNode" presStyleLbl="solidFgAcc1" presStyleIdx="1" presStyleCnt="4"/>
      <dgm:spPr/>
    </dgm:pt>
    <dgm:pt modelId="{C8E50B8D-6432-43AF-A6B5-DA8ED8119D76}" type="pres">
      <dgm:prSet presAssocID="{7C81FAF4-3ED1-4F4C-97E9-9340AA4F382C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EACA48-7BBF-41AA-B6AE-07A4E89CB38E}" type="pres">
      <dgm:prSet presAssocID="{7C81FAF4-3ED1-4F4C-97E9-9340AA4F382C}" presName="accent_3" presStyleCnt="0"/>
      <dgm:spPr/>
    </dgm:pt>
    <dgm:pt modelId="{E494EE7C-3438-4371-ACCA-CC48A1D61F72}" type="pres">
      <dgm:prSet presAssocID="{7C81FAF4-3ED1-4F4C-97E9-9340AA4F382C}" presName="accentRepeatNode" presStyleLbl="solidFgAcc1" presStyleIdx="2" presStyleCnt="4"/>
      <dgm:spPr/>
    </dgm:pt>
    <dgm:pt modelId="{3EF1681F-7AD9-485D-8C0D-2A0A1AB44907}" type="pres">
      <dgm:prSet presAssocID="{88BD1C50-8D6B-428A-A5F2-017FAB20C53C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4CD246-BD90-4187-9329-D73070C43F7C}" type="pres">
      <dgm:prSet presAssocID="{88BD1C50-8D6B-428A-A5F2-017FAB20C53C}" presName="accent_4" presStyleCnt="0"/>
      <dgm:spPr/>
    </dgm:pt>
    <dgm:pt modelId="{58C1D65E-A8AF-4A69-887C-F0C1333F0E7E}" type="pres">
      <dgm:prSet presAssocID="{88BD1C50-8D6B-428A-A5F2-017FAB20C53C}" presName="accentRepeatNode" presStyleLbl="solidFgAcc1" presStyleIdx="3" presStyleCnt="4"/>
      <dgm:spPr/>
    </dgm:pt>
  </dgm:ptLst>
  <dgm:cxnLst>
    <dgm:cxn modelId="{E59D90CF-E43B-489A-94B7-F7FAD1A30F18}" type="presOf" srcId="{88BD1C50-8D6B-428A-A5F2-017FAB20C53C}" destId="{3EF1681F-7AD9-485D-8C0D-2A0A1AB44907}" srcOrd="0" destOrd="0" presId="urn:microsoft.com/office/officeart/2008/layout/VerticalCurvedList"/>
    <dgm:cxn modelId="{1061063C-C031-43FF-8303-2DDBE88A17D1}" srcId="{97FDD59D-A0D1-463B-8B85-FC447B96C723}" destId="{07DB9580-F436-4AF3-B00C-46395BC92F7E}" srcOrd="0" destOrd="0" parTransId="{D14A5FE8-7772-47D0-8000-CC6A7C123D56}" sibTransId="{F9EE6CF8-71F7-489F-BE5F-185155774319}"/>
    <dgm:cxn modelId="{4D48193A-0E2F-45E9-AAAD-0EFFA11AB06F}" srcId="{97FDD59D-A0D1-463B-8B85-FC447B96C723}" destId="{7C81FAF4-3ED1-4F4C-97E9-9340AA4F382C}" srcOrd="2" destOrd="0" parTransId="{72E28B71-2856-4F5C-8DA6-24A12C9E9CC4}" sibTransId="{BCD75EA2-F15B-437C-9D5B-66FC18B65677}"/>
    <dgm:cxn modelId="{A7CB9F77-0312-4E39-9CED-5FCC2D464A22}" srcId="{97FDD59D-A0D1-463B-8B85-FC447B96C723}" destId="{88BD1C50-8D6B-428A-A5F2-017FAB20C53C}" srcOrd="3" destOrd="0" parTransId="{B23D4D83-2019-4CB5-9F87-F47C97069182}" sibTransId="{C3E84346-2D93-4281-AA4A-EEC6454A0254}"/>
    <dgm:cxn modelId="{FDA01058-4B5B-4EC6-8F4A-F5D8F1F4CD12}" type="presOf" srcId="{97FDD59D-A0D1-463B-8B85-FC447B96C723}" destId="{2034C4AE-BE8F-40AF-A1AB-918B44DD3FD8}" srcOrd="0" destOrd="0" presId="urn:microsoft.com/office/officeart/2008/layout/VerticalCurvedList"/>
    <dgm:cxn modelId="{5F499280-A644-480D-AD39-E959D9CEA0DF}" type="presOf" srcId="{07DB9580-F436-4AF3-B00C-46395BC92F7E}" destId="{01A9BE78-AA73-46E4-98F7-2B436B68E9C9}" srcOrd="0" destOrd="0" presId="urn:microsoft.com/office/officeart/2008/layout/VerticalCurvedList"/>
    <dgm:cxn modelId="{840BDE0C-C54D-4F97-ABE3-CC45D6989F4D}" type="presOf" srcId="{97AB39A5-37BB-4450-982F-1F2D5535C9ED}" destId="{E654B430-A393-4A45-8517-6881902320A3}" srcOrd="0" destOrd="0" presId="urn:microsoft.com/office/officeart/2008/layout/VerticalCurvedList"/>
    <dgm:cxn modelId="{EAB5FA6B-68F0-4B5E-A093-3724FB43EFB2}" type="presOf" srcId="{7C81FAF4-3ED1-4F4C-97E9-9340AA4F382C}" destId="{C8E50B8D-6432-43AF-A6B5-DA8ED8119D76}" srcOrd="0" destOrd="0" presId="urn:microsoft.com/office/officeart/2008/layout/VerticalCurvedList"/>
    <dgm:cxn modelId="{D399A3CF-28D3-47C1-B4FE-1A50DFF59FBA}" type="presOf" srcId="{F9EE6CF8-71F7-489F-BE5F-185155774319}" destId="{DF671E0C-F06B-4905-8D8F-8F3249F78F83}" srcOrd="0" destOrd="0" presId="urn:microsoft.com/office/officeart/2008/layout/VerticalCurvedList"/>
    <dgm:cxn modelId="{E7799A64-D3D9-4001-B9A3-93FA207F3D4B}" srcId="{97FDD59D-A0D1-463B-8B85-FC447B96C723}" destId="{97AB39A5-37BB-4450-982F-1F2D5535C9ED}" srcOrd="1" destOrd="0" parTransId="{00FD473E-3A32-493E-BAEB-E4B72C55649F}" sibTransId="{C421E91A-B20A-4BCB-AC03-509BB6281C10}"/>
    <dgm:cxn modelId="{F52C87F1-D3D9-42E2-92AF-D9104C7BF212}" type="presParOf" srcId="{2034C4AE-BE8F-40AF-A1AB-918B44DD3FD8}" destId="{56AE1699-096C-4132-9657-DC24F757A74F}" srcOrd="0" destOrd="0" presId="urn:microsoft.com/office/officeart/2008/layout/VerticalCurvedList"/>
    <dgm:cxn modelId="{9E7C43E2-2927-4030-A381-8169814CA753}" type="presParOf" srcId="{56AE1699-096C-4132-9657-DC24F757A74F}" destId="{4EE8C90D-7923-45FF-A635-597C722D3CB7}" srcOrd="0" destOrd="0" presId="urn:microsoft.com/office/officeart/2008/layout/VerticalCurvedList"/>
    <dgm:cxn modelId="{85EBEF51-87D2-4C8F-AD18-E2297FAFF81E}" type="presParOf" srcId="{4EE8C90D-7923-45FF-A635-597C722D3CB7}" destId="{25FD08E9-E7CF-4ADC-95B7-F95DC8EF1259}" srcOrd="0" destOrd="0" presId="urn:microsoft.com/office/officeart/2008/layout/VerticalCurvedList"/>
    <dgm:cxn modelId="{1A36F04D-3076-4DAA-B8C7-DADAFC5BB22B}" type="presParOf" srcId="{4EE8C90D-7923-45FF-A635-597C722D3CB7}" destId="{DF671E0C-F06B-4905-8D8F-8F3249F78F83}" srcOrd="1" destOrd="0" presId="urn:microsoft.com/office/officeart/2008/layout/VerticalCurvedList"/>
    <dgm:cxn modelId="{1EA776F3-2A05-4414-AA0C-DC69E93324D1}" type="presParOf" srcId="{4EE8C90D-7923-45FF-A635-597C722D3CB7}" destId="{F6EAC59E-545E-4B9A-A099-B3E25B831AF9}" srcOrd="2" destOrd="0" presId="urn:microsoft.com/office/officeart/2008/layout/VerticalCurvedList"/>
    <dgm:cxn modelId="{AE23D538-5CA2-456E-97FA-51D61D32E57F}" type="presParOf" srcId="{4EE8C90D-7923-45FF-A635-597C722D3CB7}" destId="{F8D3C26F-A534-4E8A-94F3-B1C6A9D510B6}" srcOrd="3" destOrd="0" presId="urn:microsoft.com/office/officeart/2008/layout/VerticalCurvedList"/>
    <dgm:cxn modelId="{02944B09-E8AA-4E25-9F28-89F2747D0E77}" type="presParOf" srcId="{56AE1699-096C-4132-9657-DC24F757A74F}" destId="{01A9BE78-AA73-46E4-98F7-2B436B68E9C9}" srcOrd="1" destOrd="0" presId="urn:microsoft.com/office/officeart/2008/layout/VerticalCurvedList"/>
    <dgm:cxn modelId="{22A6270D-7023-4610-AFFE-757BFA48D6E2}" type="presParOf" srcId="{56AE1699-096C-4132-9657-DC24F757A74F}" destId="{78DA0415-A01C-449C-9FD2-BF822CCCA02E}" srcOrd="2" destOrd="0" presId="urn:microsoft.com/office/officeart/2008/layout/VerticalCurvedList"/>
    <dgm:cxn modelId="{AE01B3E1-E472-408D-A45A-A6153B027D0B}" type="presParOf" srcId="{78DA0415-A01C-449C-9FD2-BF822CCCA02E}" destId="{08C36494-B626-42A2-8C47-3B58514DF434}" srcOrd="0" destOrd="0" presId="urn:microsoft.com/office/officeart/2008/layout/VerticalCurvedList"/>
    <dgm:cxn modelId="{DA4DF672-64F5-4F33-B4B3-80F00238DC31}" type="presParOf" srcId="{56AE1699-096C-4132-9657-DC24F757A74F}" destId="{E654B430-A393-4A45-8517-6881902320A3}" srcOrd="3" destOrd="0" presId="urn:microsoft.com/office/officeart/2008/layout/VerticalCurvedList"/>
    <dgm:cxn modelId="{001866E8-2186-48D8-9F39-5C08C648F982}" type="presParOf" srcId="{56AE1699-096C-4132-9657-DC24F757A74F}" destId="{84601BA4-4C9D-4100-B6C6-56A6E0D232E8}" srcOrd="4" destOrd="0" presId="urn:microsoft.com/office/officeart/2008/layout/VerticalCurvedList"/>
    <dgm:cxn modelId="{B4251E28-281B-4866-87D6-77DF416DBFB3}" type="presParOf" srcId="{84601BA4-4C9D-4100-B6C6-56A6E0D232E8}" destId="{2415D943-CF76-4D3F-9585-1CD0C6300DDD}" srcOrd="0" destOrd="0" presId="urn:microsoft.com/office/officeart/2008/layout/VerticalCurvedList"/>
    <dgm:cxn modelId="{9B2E9F6F-D2E6-4611-B35C-7D3E9F9AE6BE}" type="presParOf" srcId="{56AE1699-096C-4132-9657-DC24F757A74F}" destId="{C8E50B8D-6432-43AF-A6B5-DA8ED8119D76}" srcOrd="5" destOrd="0" presId="urn:microsoft.com/office/officeart/2008/layout/VerticalCurvedList"/>
    <dgm:cxn modelId="{E68B55DB-6B46-45BD-B0A7-16642E39F306}" type="presParOf" srcId="{56AE1699-096C-4132-9657-DC24F757A74F}" destId="{58EACA48-7BBF-41AA-B6AE-07A4E89CB38E}" srcOrd="6" destOrd="0" presId="urn:microsoft.com/office/officeart/2008/layout/VerticalCurvedList"/>
    <dgm:cxn modelId="{5702218D-37C1-4187-B616-4DFA54752953}" type="presParOf" srcId="{58EACA48-7BBF-41AA-B6AE-07A4E89CB38E}" destId="{E494EE7C-3438-4371-ACCA-CC48A1D61F72}" srcOrd="0" destOrd="0" presId="urn:microsoft.com/office/officeart/2008/layout/VerticalCurvedList"/>
    <dgm:cxn modelId="{423F29E9-906F-407D-9E97-2525A6063E41}" type="presParOf" srcId="{56AE1699-096C-4132-9657-DC24F757A74F}" destId="{3EF1681F-7AD9-485D-8C0D-2A0A1AB44907}" srcOrd="7" destOrd="0" presId="urn:microsoft.com/office/officeart/2008/layout/VerticalCurvedList"/>
    <dgm:cxn modelId="{957093D7-211D-4DB8-8DFA-312DD922946A}" type="presParOf" srcId="{56AE1699-096C-4132-9657-DC24F757A74F}" destId="{E54CD246-BD90-4187-9329-D73070C43F7C}" srcOrd="8" destOrd="0" presId="urn:microsoft.com/office/officeart/2008/layout/VerticalCurvedList"/>
    <dgm:cxn modelId="{7F647FFD-A6E7-4620-9C6B-4B8A5C60FC54}" type="presParOf" srcId="{E54CD246-BD90-4187-9329-D73070C43F7C}" destId="{58C1D65E-A8AF-4A69-887C-F0C1333F0E7E}" srcOrd="0" destOrd="0" presId="urn:microsoft.com/office/officeart/2008/layout/VerticalCurvedList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7FDD59D-A0D1-463B-8B85-FC447B96C72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2169226-C973-4180-84A7-93CECAF6620F}">
      <dgm:prSet phldrT="[Текст]"/>
      <dgm:spPr/>
      <dgm:t>
        <a:bodyPr/>
        <a:lstStyle/>
        <a:p>
          <a:r>
            <a:rPr lang="ru-RU" dirty="0"/>
            <a:t>до 15 января 2022 – загрузка мотивационного эссе</a:t>
          </a:r>
        </a:p>
      </dgm:t>
    </dgm:pt>
    <dgm:pt modelId="{BFA0C71E-B8D2-469E-BB12-1427C3DAADAB}" type="parTrans" cxnId="{0E0A8978-5F1B-431A-89C4-90C102FCD25B}">
      <dgm:prSet/>
      <dgm:spPr/>
      <dgm:t>
        <a:bodyPr/>
        <a:lstStyle/>
        <a:p>
          <a:endParaRPr lang="ru-RU"/>
        </a:p>
      </dgm:t>
    </dgm:pt>
    <dgm:pt modelId="{BFAF100A-8B90-4C32-BA79-B37CDA05B8E3}" type="sibTrans" cxnId="{0E0A8978-5F1B-431A-89C4-90C102FCD25B}">
      <dgm:prSet/>
      <dgm:spPr/>
      <dgm:t>
        <a:bodyPr/>
        <a:lstStyle/>
        <a:p>
          <a:endParaRPr lang="ru-RU"/>
        </a:p>
      </dgm:t>
    </dgm:pt>
    <dgm:pt modelId="{CC3EFD8C-670F-49BB-BAF5-D0DD24FF0C89}">
      <dgm:prSet phldrT="[Текст]"/>
      <dgm:spPr/>
      <dgm:t>
        <a:bodyPr/>
        <a:lstStyle/>
        <a:p>
          <a:r>
            <a:rPr lang="ru-RU" dirty="0"/>
            <a:t>15 января 2022 – предметное тестирование</a:t>
          </a:r>
        </a:p>
      </dgm:t>
    </dgm:pt>
    <dgm:pt modelId="{03028518-4E28-45DD-B51F-37F436274BB1}" type="parTrans" cxnId="{4C11B1AB-6633-42B3-BAFE-433203952B3D}">
      <dgm:prSet/>
      <dgm:spPr/>
      <dgm:t>
        <a:bodyPr/>
        <a:lstStyle/>
        <a:p>
          <a:endParaRPr lang="ru-RU"/>
        </a:p>
      </dgm:t>
    </dgm:pt>
    <dgm:pt modelId="{D8D66DBF-B852-44F8-8776-EB6DC17BF220}" type="sibTrans" cxnId="{4C11B1AB-6633-42B3-BAFE-433203952B3D}">
      <dgm:prSet/>
      <dgm:spPr/>
      <dgm:t>
        <a:bodyPr/>
        <a:lstStyle/>
        <a:p>
          <a:endParaRPr lang="ru-RU"/>
        </a:p>
      </dgm:t>
    </dgm:pt>
    <dgm:pt modelId="{7C81FAF4-3ED1-4F4C-97E9-9340AA4F382C}">
      <dgm:prSet phldrT="[Текст]"/>
      <dgm:spPr/>
      <dgm:t>
        <a:bodyPr/>
        <a:lstStyle/>
        <a:p>
          <a:r>
            <a:rPr lang="ru-RU" dirty="0"/>
            <a:t>до 22 января 2022 – публикация результатов</a:t>
          </a:r>
        </a:p>
      </dgm:t>
    </dgm:pt>
    <dgm:pt modelId="{72E28B71-2856-4F5C-8DA6-24A12C9E9CC4}" type="parTrans" cxnId="{4D48193A-0E2F-45E9-AAAD-0EFFA11AB06F}">
      <dgm:prSet/>
      <dgm:spPr/>
      <dgm:t>
        <a:bodyPr/>
        <a:lstStyle/>
        <a:p>
          <a:endParaRPr lang="ru-RU"/>
        </a:p>
      </dgm:t>
    </dgm:pt>
    <dgm:pt modelId="{BCD75EA2-F15B-437C-9D5B-66FC18B65677}" type="sibTrans" cxnId="{4D48193A-0E2F-45E9-AAAD-0EFFA11AB06F}">
      <dgm:prSet/>
      <dgm:spPr/>
      <dgm:t>
        <a:bodyPr/>
        <a:lstStyle/>
        <a:p>
          <a:endParaRPr lang="ru-RU"/>
        </a:p>
      </dgm:t>
    </dgm:pt>
    <dgm:pt modelId="{97AB39A5-37BB-4450-982F-1F2D5535C9ED}">
      <dgm:prSet phldrT="[Текст]"/>
      <dgm:spPr/>
      <dgm:t>
        <a:bodyPr/>
        <a:lstStyle/>
        <a:p>
          <a:r>
            <a:rPr lang="ru-RU" dirty="0"/>
            <a:t>13 января 2022 – установочный вебинар</a:t>
          </a:r>
        </a:p>
      </dgm:t>
    </dgm:pt>
    <dgm:pt modelId="{00FD473E-3A32-493E-BAEB-E4B72C55649F}" type="parTrans" cxnId="{E7799A64-D3D9-4001-B9A3-93FA207F3D4B}">
      <dgm:prSet/>
      <dgm:spPr/>
      <dgm:t>
        <a:bodyPr/>
        <a:lstStyle/>
        <a:p>
          <a:endParaRPr lang="ru-RU"/>
        </a:p>
      </dgm:t>
    </dgm:pt>
    <dgm:pt modelId="{C421E91A-B20A-4BCB-AC03-509BB6281C10}" type="sibTrans" cxnId="{E7799A64-D3D9-4001-B9A3-93FA207F3D4B}">
      <dgm:prSet/>
      <dgm:spPr/>
      <dgm:t>
        <a:bodyPr/>
        <a:lstStyle/>
        <a:p>
          <a:endParaRPr lang="ru-RU"/>
        </a:p>
      </dgm:t>
    </dgm:pt>
    <dgm:pt modelId="{2034C4AE-BE8F-40AF-A1AB-918B44DD3FD8}" type="pres">
      <dgm:prSet presAssocID="{97FDD59D-A0D1-463B-8B85-FC447B96C72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6AE1699-096C-4132-9657-DC24F757A74F}" type="pres">
      <dgm:prSet presAssocID="{97FDD59D-A0D1-463B-8B85-FC447B96C723}" presName="Name1" presStyleCnt="0"/>
      <dgm:spPr/>
    </dgm:pt>
    <dgm:pt modelId="{4EE8C90D-7923-45FF-A635-597C722D3CB7}" type="pres">
      <dgm:prSet presAssocID="{97FDD59D-A0D1-463B-8B85-FC447B96C723}" presName="cycle" presStyleCnt="0"/>
      <dgm:spPr/>
    </dgm:pt>
    <dgm:pt modelId="{25FD08E9-E7CF-4ADC-95B7-F95DC8EF1259}" type="pres">
      <dgm:prSet presAssocID="{97FDD59D-A0D1-463B-8B85-FC447B96C723}" presName="srcNode" presStyleLbl="node1" presStyleIdx="0" presStyleCnt="4"/>
      <dgm:spPr/>
    </dgm:pt>
    <dgm:pt modelId="{DF671E0C-F06B-4905-8D8F-8F3249F78F83}" type="pres">
      <dgm:prSet presAssocID="{97FDD59D-A0D1-463B-8B85-FC447B96C723}" presName="conn" presStyleLbl="parChTrans1D2" presStyleIdx="0" presStyleCnt="1"/>
      <dgm:spPr/>
      <dgm:t>
        <a:bodyPr/>
        <a:lstStyle/>
        <a:p>
          <a:endParaRPr lang="ru-RU"/>
        </a:p>
      </dgm:t>
    </dgm:pt>
    <dgm:pt modelId="{F6EAC59E-545E-4B9A-A099-B3E25B831AF9}" type="pres">
      <dgm:prSet presAssocID="{97FDD59D-A0D1-463B-8B85-FC447B96C723}" presName="extraNode" presStyleLbl="node1" presStyleIdx="0" presStyleCnt="4"/>
      <dgm:spPr/>
    </dgm:pt>
    <dgm:pt modelId="{F8D3C26F-A534-4E8A-94F3-B1C6A9D510B6}" type="pres">
      <dgm:prSet presAssocID="{97FDD59D-A0D1-463B-8B85-FC447B96C723}" presName="dstNode" presStyleLbl="node1" presStyleIdx="0" presStyleCnt="4"/>
      <dgm:spPr/>
    </dgm:pt>
    <dgm:pt modelId="{6C7DE206-AC7D-4637-AC4A-7DC16B5913DB}" type="pres">
      <dgm:prSet presAssocID="{97AB39A5-37BB-4450-982F-1F2D5535C9ED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5E340F-EF0A-4C66-8075-6300B08C0AA0}" type="pres">
      <dgm:prSet presAssocID="{97AB39A5-37BB-4450-982F-1F2D5535C9ED}" presName="accent_1" presStyleCnt="0"/>
      <dgm:spPr/>
    </dgm:pt>
    <dgm:pt modelId="{2415D943-CF76-4D3F-9585-1CD0C6300DDD}" type="pres">
      <dgm:prSet presAssocID="{97AB39A5-37BB-4450-982F-1F2D5535C9ED}" presName="accentRepeatNode" presStyleLbl="solidFgAcc1" presStyleIdx="0" presStyleCnt="4"/>
      <dgm:spPr/>
    </dgm:pt>
    <dgm:pt modelId="{B5D1AA16-5EA9-4FB9-A3FE-5CC7E02B9BE7}" type="pres">
      <dgm:prSet presAssocID="{32169226-C973-4180-84A7-93CECAF6620F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B32A3C-375C-4DD7-89D5-7CD6DE107AE4}" type="pres">
      <dgm:prSet presAssocID="{32169226-C973-4180-84A7-93CECAF6620F}" presName="accent_2" presStyleCnt="0"/>
      <dgm:spPr/>
    </dgm:pt>
    <dgm:pt modelId="{781EF287-247B-40DC-8322-ACA47AA622C4}" type="pres">
      <dgm:prSet presAssocID="{32169226-C973-4180-84A7-93CECAF6620F}" presName="accentRepeatNode" presStyleLbl="solidFgAcc1" presStyleIdx="1" presStyleCnt="4"/>
      <dgm:spPr/>
    </dgm:pt>
    <dgm:pt modelId="{E1570E7B-7D34-4D81-B01F-CAEC9BD59EA7}" type="pres">
      <dgm:prSet presAssocID="{CC3EFD8C-670F-49BB-BAF5-D0DD24FF0C89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B5F933-E866-469C-B542-B67D9FE4DFC0}" type="pres">
      <dgm:prSet presAssocID="{CC3EFD8C-670F-49BB-BAF5-D0DD24FF0C89}" presName="accent_3" presStyleCnt="0"/>
      <dgm:spPr/>
    </dgm:pt>
    <dgm:pt modelId="{557B3836-FFD7-422C-8A6A-27418A53D716}" type="pres">
      <dgm:prSet presAssocID="{CC3EFD8C-670F-49BB-BAF5-D0DD24FF0C89}" presName="accentRepeatNode" presStyleLbl="solidFgAcc1" presStyleIdx="2" presStyleCnt="4"/>
      <dgm:spPr/>
    </dgm:pt>
    <dgm:pt modelId="{10D2FF5C-BF67-4BC8-A2F1-FEDD9DA1449F}" type="pres">
      <dgm:prSet presAssocID="{7C81FAF4-3ED1-4F4C-97E9-9340AA4F382C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C71F3C-5C06-4E39-A125-817076C02235}" type="pres">
      <dgm:prSet presAssocID="{7C81FAF4-3ED1-4F4C-97E9-9340AA4F382C}" presName="accent_4" presStyleCnt="0"/>
      <dgm:spPr/>
    </dgm:pt>
    <dgm:pt modelId="{E494EE7C-3438-4371-ACCA-CC48A1D61F72}" type="pres">
      <dgm:prSet presAssocID="{7C81FAF4-3ED1-4F4C-97E9-9340AA4F382C}" presName="accentRepeatNode" presStyleLbl="solidFgAcc1" presStyleIdx="3" presStyleCnt="4"/>
      <dgm:spPr/>
    </dgm:pt>
  </dgm:ptLst>
  <dgm:cxnLst>
    <dgm:cxn modelId="{4D48193A-0E2F-45E9-AAAD-0EFFA11AB06F}" srcId="{97FDD59D-A0D1-463B-8B85-FC447B96C723}" destId="{7C81FAF4-3ED1-4F4C-97E9-9340AA4F382C}" srcOrd="3" destOrd="0" parTransId="{72E28B71-2856-4F5C-8DA6-24A12C9E9CC4}" sibTransId="{BCD75EA2-F15B-437C-9D5B-66FC18B65677}"/>
    <dgm:cxn modelId="{0E0A8978-5F1B-431A-89C4-90C102FCD25B}" srcId="{97FDD59D-A0D1-463B-8B85-FC447B96C723}" destId="{32169226-C973-4180-84A7-93CECAF6620F}" srcOrd="1" destOrd="0" parTransId="{BFA0C71E-B8D2-469E-BB12-1427C3DAADAB}" sibTransId="{BFAF100A-8B90-4C32-BA79-B37CDA05B8E3}"/>
    <dgm:cxn modelId="{66D7F2F7-6796-48E2-86D7-9D8EFE8BD6DB}" type="presOf" srcId="{7C81FAF4-3ED1-4F4C-97E9-9340AA4F382C}" destId="{10D2FF5C-BF67-4BC8-A2F1-FEDD9DA1449F}" srcOrd="0" destOrd="0" presId="urn:microsoft.com/office/officeart/2008/layout/VerticalCurvedList"/>
    <dgm:cxn modelId="{E7799A64-D3D9-4001-B9A3-93FA207F3D4B}" srcId="{97FDD59D-A0D1-463B-8B85-FC447B96C723}" destId="{97AB39A5-37BB-4450-982F-1F2D5535C9ED}" srcOrd="0" destOrd="0" parTransId="{00FD473E-3A32-493E-BAEB-E4B72C55649F}" sibTransId="{C421E91A-B20A-4BCB-AC03-509BB6281C10}"/>
    <dgm:cxn modelId="{DEC5B3BC-323E-4CE2-BA8C-6BE58AD40A9E}" type="presOf" srcId="{C421E91A-B20A-4BCB-AC03-509BB6281C10}" destId="{DF671E0C-F06B-4905-8D8F-8F3249F78F83}" srcOrd="0" destOrd="0" presId="urn:microsoft.com/office/officeart/2008/layout/VerticalCurvedList"/>
    <dgm:cxn modelId="{7A731F70-D5FA-4615-8AD9-4615D2C58070}" type="presOf" srcId="{97AB39A5-37BB-4450-982F-1F2D5535C9ED}" destId="{6C7DE206-AC7D-4637-AC4A-7DC16B5913DB}" srcOrd="0" destOrd="0" presId="urn:microsoft.com/office/officeart/2008/layout/VerticalCurvedList"/>
    <dgm:cxn modelId="{CF21FBF5-4B96-4811-B6C5-EA16BF6815F0}" type="presOf" srcId="{CC3EFD8C-670F-49BB-BAF5-D0DD24FF0C89}" destId="{E1570E7B-7D34-4D81-B01F-CAEC9BD59EA7}" srcOrd="0" destOrd="0" presId="urn:microsoft.com/office/officeart/2008/layout/VerticalCurvedList"/>
    <dgm:cxn modelId="{4C11B1AB-6633-42B3-BAFE-433203952B3D}" srcId="{97FDD59D-A0D1-463B-8B85-FC447B96C723}" destId="{CC3EFD8C-670F-49BB-BAF5-D0DD24FF0C89}" srcOrd="2" destOrd="0" parTransId="{03028518-4E28-45DD-B51F-37F436274BB1}" sibTransId="{D8D66DBF-B852-44F8-8776-EB6DC17BF220}"/>
    <dgm:cxn modelId="{8A6E3515-8A37-419C-9B86-B9B28630FAD2}" type="presOf" srcId="{97FDD59D-A0D1-463B-8B85-FC447B96C723}" destId="{2034C4AE-BE8F-40AF-A1AB-918B44DD3FD8}" srcOrd="0" destOrd="0" presId="urn:microsoft.com/office/officeart/2008/layout/VerticalCurvedList"/>
    <dgm:cxn modelId="{5E5E7232-9C6B-4F0B-8DEF-17866371D56E}" type="presOf" srcId="{32169226-C973-4180-84A7-93CECAF6620F}" destId="{B5D1AA16-5EA9-4FB9-A3FE-5CC7E02B9BE7}" srcOrd="0" destOrd="0" presId="urn:microsoft.com/office/officeart/2008/layout/VerticalCurvedList"/>
    <dgm:cxn modelId="{6C0AB014-1801-4085-B8E0-F0E77AB03D06}" type="presParOf" srcId="{2034C4AE-BE8F-40AF-A1AB-918B44DD3FD8}" destId="{56AE1699-096C-4132-9657-DC24F757A74F}" srcOrd="0" destOrd="0" presId="urn:microsoft.com/office/officeart/2008/layout/VerticalCurvedList"/>
    <dgm:cxn modelId="{E4CAF3B9-858C-4AE6-8396-1A190233792E}" type="presParOf" srcId="{56AE1699-096C-4132-9657-DC24F757A74F}" destId="{4EE8C90D-7923-45FF-A635-597C722D3CB7}" srcOrd="0" destOrd="0" presId="urn:microsoft.com/office/officeart/2008/layout/VerticalCurvedList"/>
    <dgm:cxn modelId="{287F0AB4-9CCB-4B30-88E5-B6D060FC37CE}" type="presParOf" srcId="{4EE8C90D-7923-45FF-A635-597C722D3CB7}" destId="{25FD08E9-E7CF-4ADC-95B7-F95DC8EF1259}" srcOrd="0" destOrd="0" presId="urn:microsoft.com/office/officeart/2008/layout/VerticalCurvedList"/>
    <dgm:cxn modelId="{4BE3B679-43D6-4818-AF5C-A9EDB3937190}" type="presParOf" srcId="{4EE8C90D-7923-45FF-A635-597C722D3CB7}" destId="{DF671E0C-F06B-4905-8D8F-8F3249F78F83}" srcOrd="1" destOrd="0" presId="urn:microsoft.com/office/officeart/2008/layout/VerticalCurvedList"/>
    <dgm:cxn modelId="{E11D5E64-5DCE-464C-BF9E-E4304531FCC9}" type="presParOf" srcId="{4EE8C90D-7923-45FF-A635-597C722D3CB7}" destId="{F6EAC59E-545E-4B9A-A099-B3E25B831AF9}" srcOrd="2" destOrd="0" presId="urn:microsoft.com/office/officeart/2008/layout/VerticalCurvedList"/>
    <dgm:cxn modelId="{FB4E04EB-0B7A-41B0-932D-3A3E6C931539}" type="presParOf" srcId="{4EE8C90D-7923-45FF-A635-597C722D3CB7}" destId="{F8D3C26F-A534-4E8A-94F3-B1C6A9D510B6}" srcOrd="3" destOrd="0" presId="urn:microsoft.com/office/officeart/2008/layout/VerticalCurvedList"/>
    <dgm:cxn modelId="{A7AD5475-87DD-4A43-BA2F-06A59A89D2CD}" type="presParOf" srcId="{56AE1699-096C-4132-9657-DC24F757A74F}" destId="{6C7DE206-AC7D-4637-AC4A-7DC16B5913DB}" srcOrd="1" destOrd="0" presId="urn:microsoft.com/office/officeart/2008/layout/VerticalCurvedList"/>
    <dgm:cxn modelId="{AFFAA864-EFF2-4975-8706-B593021F71B2}" type="presParOf" srcId="{56AE1699-096C-4132-9657-DC24F757A74F}" destId="{CF5E340F-EF0A-4C66-8075-6300B08C0AA0}" srcOrd="2" destOrd="0" presId="urn:microsoft.com/office/officeart/2008/layout/VerticalCurvedList"/>
    <dgm:cxn modelId="{F2FD3E90-26EF-4523-AFB4-515D4F907262}" type="presParOf" srcId="{CF5E340F-EF0A-4C66-8075-6300B08C0AA0}" destId="{2415D943-CF76-4D3F-9585-1CD0C6300DDD}" srcOrd="0" destOrd="0" presId="urn:microsoft.com/office/officeart/2008/layout/VerticalCurvedList"/>
    <dgm:cxn modelId="{D8656CCA-A5F1-4106-B7B5-0FD0B442D504}" type="presParOf" srcId="{56AE1699-096C-4132-9657-DC24F757A74F}" destId="{B5D1AA16-5EA9-4FB9-A3FE-5CC7E02B9BE7}" srcOrd="3" destOrd="0" presId="urn:microsoft.com/office/officeart/2008/layout/VerticalCurvedList"/>
    <dgm:cxn modelId="{25F7B14D-6AD2-4DE7-A3EA-48014901A3AB}" type="presParOf" srcId="{56AE1699-096C-4132-9657-DC24F757A74F}" destId="{67B32A3C-375C-4DD7-89D5-7CD6DE107AE4}" srcOrd="4" destOrd="0" presId="urn:microsoft.com/office/officeart/2008/layout/VerticalCurvedList"/>
    <dgm:cxn modelId="{85AF7DE7-CE2F-4CDD-AD39-3A7DD71E179D}" type="presParOf" srcId="{67B32A3C-375C-4DD7-89D5-7CD6DE107AE4}" destId="{781EF287-247B-40DC-8322-ACA47AA622C4}" srcOrd="0" destOrd="0" presId="urn:microsoft.com/office/officeart/2008/layout/VerticalCurvedList"/>
    <dgm:cxn modelId="{F0B2BDCA-9744-41AB-80E1-104D033C9CA9}" type="presParOf" srcId="{56AE1699-096C-4132-9657-DC24F757A74F}" destId="{E1570E7B-7D34-4D81-B01F-CAEC9BD59EA7}" srcOrd="5" destOrd="0" presId="urn:microsoft.com/office/officeart/2008/layout/VerticalCurvedList"/>
    <dgm:cxn modelId="{8509CA89-4544-407A-99CD-65BB18F43CEA}" type="presParOf" srcId="{56AE1699-096C-4132-9657-DC24F757A74F}" destId="{58B5F933-E866-469C-B542-B67D9FE4DFC0}" srcOrd="6" destOrd="0" presId="urn:microsoft.com/office/officeart/2008/layout/VerticalCurvedList"/>
    <dgm:cxn modelId="{53FB7918-EC07-4469-BAAE-C1483EC27951}" type="presParOf" srcId="{58B5F933-E866-469C-B542-B67D9FE4DFC0}" destId="{557B3836-FFD7-422C-8A6A-27418A53D716}" srcOrd="0" destOrd="0" presId="urn:microsoft.com/office/officeart/2008/layout/VerticalCurvedList"/>
    <dgm:cxn modelId="{F939254D-6411-4C53-8305-26B33C1EB59A}" type="presParOf" srcId="{56AE1699-096C-4132-9657-DC24F757A74F}" destId="{10D2FF5C-BF67-4BC8-A2F1-FEDD9DA1449F}" srcOrd="7" destOrd="0" presId="urn:microsoft.com/office/officeart/2008/layout/VerticalCurvedList"/>
    <dgm:cxn modelId="{68E5DD4E-9892-48B7-93C8-F9EEFD3EF1EE}" type="presParOf" srcId="{56AE1699-096C-4132-9657-DC24F757A74F}" destId="{A5C71F3C-5C06-4E39-A125-817076C02235}" srcOrd="8" destOrd="0" presId="urn:microsoft.com/office/officeart/2008/layout/VerticalCurvedList"/>
    <dgm:cxn modelId="{52FA3162-6AF5-4B5E-B19A-66FF4916C61C}" type="presParOf" srcId="{A5C71F3C-5C06-4E39-A125-817076C02235}" destId="{E494EE7C-3438-4371-ACCA-CC48A1D61F72}" srcOrd="0" destOrd="0" presId="urn:microsoft.com/office/officeart/2008/layout/VerticalCurvedList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0FBA-3B4D-594C-9C95-852DB6F34EF1}" type="datetimeFigureOut">
              <a:rPr lang="ru-RU" smtClean="0"/>
              <a:pPr/>
              <a:t>09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1C0842-6D7A-3748-8A63-0F77479CA0A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0370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4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871619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076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xmlns="" val="1838586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471063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1292" name="Слайд think-cell" r:id="rId4" imgW="7761960" imgH="10047960" progId="">
              <p:embed/>
            </p:oleObj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xmlns="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xmlns="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2486736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933554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2316" name="Слайд think-cell" r:id="rId4" imgW="7761960" imgH="10047960" progId="">
              <p:embed/>
            </p:oleObj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xmlns="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xmlns="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xmlns="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xmlns="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xmlns="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1376385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xmlns="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xmlns="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2354606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213443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3340" name="Слайд think-cell" r:id="rId4" imgW="7761960" imgH="10047960" progId="">
              <p:embed/>
            </p:oleObj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xmlns="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xmlns="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xmlns="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xmlns="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xmlns="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301261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xmlns="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xmlns="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xmlns="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90602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69107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4364" name="Слайд think-cell" r:id="rId4" imgW="7761960" imgH="10047960" progId="">
              <p:embed/>
            </p:oleObj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xmlns="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xmlns="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xmlns="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22519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9508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5388" name="Слайд think-cell" r:id="rId4" imgW="7761960" imgH="10047960" progId="">
              <p:embed/>
            </p:oleObj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xmlns="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xmlns="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49277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67129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6412" name="Слайд think-cell" r:id="rId4" imgW="7761960" imgH="10047960" progId="">
              <p:embed/>
            </p:oleObj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xmlns="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xmlns="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xmlns="" val="2336896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13137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7436" name="Слайд think-cell" r:id="rId4" imgW="7761960" imgH="10047960" progId="">
              <p:embed/>
            </p:oleObj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xmlns="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xmlns="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xmlns="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xmlns="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xmlns="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544532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115962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8460" name="Слайд think-cell" r:id="rId4" imgW="7761960" imgH="10047960" progId="">
              <p:embed/>
            </p:oleObj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xmlns="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xmlns="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xmlns="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7931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353443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100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xmlns="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xmlns="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xmlns="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xmlns="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D18BC89-BBDC-4215-A269-A3D08BC32F6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654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53004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9484" name="Слайд think-cell" r:id="rId4" imgW="7761960" imgH="10047960" progId="">
              <p:embed/>
            </p:oleObj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xmlns="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xmlns="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xmlns="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xmlns="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xmlns="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10761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7633691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0508" name="Слайд think-cell" r:id="rId4" imgW="7761960" imgH="10047960" progId="">
              <p:embed/>
            </p:oleObj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xmlns="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xmlns="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xmlns="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xmlns="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xmlns="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xmlns="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xmlns="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579492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301180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1532" name="Слайд think-cell" r:id="rId4" imgW="7761960" imgH="10047960" progId="">
              <p:embed/>
            </p:oleObj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xmlns="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xmlns="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xmlns="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xmlns="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xmlns="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xmlns="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xmlns="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641914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35939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2556" name="Слайд think-cell" r:id="rId4" imgW="7761960" imgH="10047960" progId="">
              <p:embed/>
            </p:oleObj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xmlns="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bg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xmlns="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xmlns="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873351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5075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3580" name="Слайд think-cell" r:id="rId4" imgW="7761960" imgH="10047960" progId="">
              <p:embed/>
            </p:oleObj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xmlns="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xmlns="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xmlns="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xmlns="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xmlns="" val="1936598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72573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4604" name="Слайд think-cell" r:id="rId4" imgW="7761960" imgH="10047960" progId="">
              <p:embed/>
            </p:oleObj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xmlns="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xmlns="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xmlns="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xmlns="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xmlns="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56686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875728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5628" name="Слайд think-cell" r:id="rId4" imgW="7761960" imgH="10047960" progId="">
              <p:embed/>
            </p:oleObj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xmlns="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xmlns="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xmlns="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xmlns="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2650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3434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6652" name="Слайд think-cell" r:id="rId4" imgW="7761960" imgH="10047960" progId="">
              <p:embed/>
            </p:oleObj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xmlns="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xmlns="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xmlns="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xmlns="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xmlns="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xmlns="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7152948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335270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7676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8024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94227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8700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xmlns="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041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27273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124" name="Слайд think-cell" r:id="rId4" imgW="7761960" imgH="10047960" progId="">
              <p:embed/>
            </p:oleObj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xmlns="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xmlns="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xmlns="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959191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61892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29724" name="Слайд think-cell" r:id="rId4" imgW="7761960" imgH="10047960" progId="">
              <p:embed/>
            </p:oleObj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xmlns="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xmlns="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xmlns="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83295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29114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0748" name="Слайд think-cell" r:id="rId4" imgW="7761960" imgH="10047960" progId="">
              <p:embed/>
            </p:oleObj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xmlns="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xmlns="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xmlns="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xmlns="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xmlns="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xmlns="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598767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06909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1772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xmlns="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xmlns="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xmlns="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xmlns="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1602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336945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2796" name="Слайд think-cell" r:id="rId4" imgW="7761960" imgH="10047960" progId="">
              <p:embed/>
            </p:oleObj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xmlns="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xmlns="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447DCD6-CA8C-4A92-81F4-FB7F6395F6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7757687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84264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3820" name="Слайд think-cell" r:id="rId4" imgW="7761960" imgH="10047960" progId="">
              <p:embed/>
            </p:oleObj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xmlns="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xmlns="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xmlns="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xmlns="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C52DB170-0BD8-460C-95C4-93631BA860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866920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1171365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4844" name="Слайд think-cell" r:id="rId4" imgW="7761960" imgH="10047960" progId="">
              <p:embed/>
            </p:oleObj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xmlns="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xmlns="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xmlns="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xmlns="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xmlns="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5E74483-36EB-4F4A-8538-B908593BA7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7128453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45315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5868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xmlns="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xmlns="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xmlns="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xmlns="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xmlns="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xmlns="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xmlns="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xmlns="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xmlns="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xmlns="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1375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534373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6892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xmlns="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xmlns="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xmlns="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xmlns="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2599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44570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7916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xmlns="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54305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067705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8940" name="Слайд think-cell" r:id="rId4" imgW="7761960" imgH="10047960" progId="">
              <p:embed/>
            </p:oleObj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xmlns="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xmlns="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xmlns="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xmlns="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051658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71140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148" name="Слайд think-cell" r:id="rId4" imgW="7761960" imgH="10047960" progId="">
              <p:embed/>
            </p:oleObj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xmlns="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xmlns="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xmlns="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xmlns="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7041404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366864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39964" name="Слайд think-cell" r:id="rId4" imgW="7761960" imgH="10047960" progId="">
              <p:embed/>
            </p:oleObj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xmlns="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xmlns="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xmlns="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xmlns="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32060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637470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0988" name="Слайд think-cell" r:id="rId4" imgW="7761960" imgH="10047960" progId="">
              <p:embed/>
            </p:oleObj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xmlns="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xmlns="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xmlns="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xmlns="" val="81580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98129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2012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xmlns="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xmlns="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xmlns="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xmlns="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xmlns="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xmlns="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xmlns="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xmlns="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xmlns="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91343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097870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3036" name="Слайд think-cell" r:id="rId4" imgW="7761960" imgH="10047960" progId="">
              <p:embed/>
            </p:oleObj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66808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00134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4060" name="Слайд think-cell" r:id="rId4" imgW="7761960" imgH="10047960" progId="">
              <p:embed/>
            </p:oleObj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xmlns="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xmlns="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xmlns="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33788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32047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6172" name="Слайд think-cell" r:id="rId4" imgW="7761960" imgH="10047960" progId="">
              <p:embed/>
            </p:oleObj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xmlns="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xmlns="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xmlns="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1979181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97258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7196" name="Слайд think-cell" r:id="rId4" imgW="7761960" imgH="10047960" progId="">
              <p:embed/>
            </p:oleObj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xmlns="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xmlns="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xmlns="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xmlns="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1053675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071999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8220" name="Слайд think-cell" r:id="rId4" imgW="7761960" imgH="10047960" progId="">
              <p:embed/>
            </p:oleObj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xmlns="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xmlns="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xmlns="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xmlns="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xmlns="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3832103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178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9244" name="Слайд think-cell" r:id="rId4" imgW="7761960" imgH="10047960" progId="">
              <p:embed/>
            </p:oleObj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xmlns="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xmlns="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xmlns="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2302040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46440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0268" name="Слайд think-cell" r:id="rId4" imgW="7761960" imgH="10047960" progId="">
              <p:embed/>
            </p:oleObj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xmlns="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xmlns="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xmlns="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xmlns="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xmlns="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xmlns="" val="2069880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xmlns="" val="3958887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1052" name="Слайд think-cell" r:id="rId48" imgW="7761960" imgH="100479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3990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8" r:id="rId2"/>
    <p:sldLayoutId id="2147483731" r:id="rId3"/>
    <p:sldLayoutId id="2147483710" r:id="rId4"/>
    <p:sldLayoutId id="2147483732" r:id="rId5"/>
    <p:sldLayoutId id="2147483711" r:id="rId6"/>
    <p:sldLayoutId id="2147483733" r:id="rId7"/>
    <p:sldLayoutId id="2147483712" r:id="rId8"/>
    <p:sldLayoutId id="2147483734" r:id="rId9"/>
    <p:sldLayoutId id="2147483713" r:id="rId10"/>
    <p:sldLayoutId id="2147483735" r:id="rId11"/>
    <p:sldLayoutId id="2147483714" r:id="rId12"/>
    <p:sldLayoutId id="2147483736" r:id="rId13"/>
    <p:sldLayoutId id="2147483649" r:id="rId14"/>
    <p:sldLayoutId id="2147483715" r:id="rId15"/>
    <p:sldLayoutId id="2147483716" r:id="rId16"/>
    <p:sldLayoutId id="2147483717" r:id="rId17"/>
    <p:sldLayoutId id="2147483768" r:id="rId18"/>
    <p:sldLayoutId id="2147483719" r:id="rId19"/>
    <p:sldLayoutId id="2147483769" r:id="rId20"/>
    <p:sldLayoutId id="2147483722" r:id="rId21"/>
    <p:sldLayoutId id="2147483723" r:id="rId22"/>
    <p:sldLayoutId id="2147483724" r:id="rId23"/>
    <p:sldLayoutId id="2147483725" r:id="rId24"/>
    <p:sldLayoutId id="2147483767" r:id="rId25"/>
    <p:sldLayoutId id="2147483727" r:id="rId26"/>
    <p:sldLayoutId id="2147483770" r:id="rId27"/>
    <p:sldLayoutId id="2147483759" r:id="rId28"/>
    <p:sldLayoutId id="2147483728" r:id="rId29"/>
    <p:sldLayoutId id="2147483729" r:id="rId30"/>
    <p:sldLayoutId id="2147483730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57" r:id="rId38"/>
    <p:sldLayoutId id="2147483744" r:id="rId39"/>
    <p:sldLayoutId id="2147483764" r:id="rId40"/>
    <p:sldLayoutId id="2147483765" r:id="rId41"/>
    <p:sldLayoutId id="2147483760" r:id="rId42"/>
    <p:sldLayoutId id="2147483761" r:id="rId43"/>
    <p:sldLayoutId id="2147483766" r:id="rId4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506" userDrawn="1">
          <p15:clr>
            <a:srgbClr val="F26B43"/>
          </p15:clr>
        </p15:guide>
        <p15:guide id="2" pos="7174" userDrawn="1">
          <p15:clr>
            <a:srgbClr val="F26B43"/>
          </p15:clr>
        </p15:guide>
        <p15:guide id="3" orient="horz" pos="686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4" Type="http://schemas.openxmlformats.org/officeDocument/2006/relationships/oleObject" Target="../embeddings/oleObject4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oleObject" Target="../embeddings/oleObject5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chool.ugmk.com/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4" Type="http://schemas.openxmlformats.org/officeDocument/2006/relationships/oleObject" Target="../embeddings/oleObject4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12" Type="http://schemas.openxmlformats.org/officeDocument/2006/relationships/image" Target="../media/image4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11" Type="http://schemas.openxmlformats.org/officeDocument/2006/relationships/image" Target="../media/image159.svg"/><Relationship Id="rId5" Type="http://schemas.openxmlformats.org/officeDocument/2006/relationships/image" Target="../media/image46.png"/><Relationship Id="rId15" Type="http://schemas.openxmlformats.org/officeDocument/2006/relationships/image" Target="../media/image158.svg"/><Relationship Id="rId4" Type="http://schemas.openxmlformats.org/officeDocument/2006/relationships/oleObject" Target="../embeddings/oleObject4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4" Type="http://schemas.openxmlformats.org/officeDocument/2006/relationships/oleObject" Target="../embeddings/oleObject4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4" Type="http://schemas.openxmlformats.org/officeDocument/2006/relationships/oleObject" Target="../embeddings/oleObject4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4" Type="http://schemas.openxmlformats.org/officeDocument/2006/relationships/oleObject" Target="../embeddings/oleObject48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735" r="7735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8515" y="2417800"/>
            <a:ext cx="4031482" cy="1107996"/>
          </a:xfrm>
        </p:spPr>
        <p:txBody>
          <a:bodyPr/>
          <a:lstStyle/>
          <a:p>
            <a:r>
              <a:rPr lang="ru-RU" dirty="0" smtClean="0"/>
              <a:t>«Инженерная школа </a:t>
            </a:r>
            <a:r>
              <a:rPr lang="ru-RU" dirty="0"/>
              <a:t>УГМК»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1004378"/>
          </a:xfrm>
        </p:spPr>
        <p:txBody>
          <a:bodyPr/>
          <a:lstStyle/>
          <a:p>
            <a:endParaRPr lang="ru-RU" dirty="0" smtClean="0"/>
          </a:p>
          <a:p>
            <a:r>
              <a:rPr lang="ru-RU" dirty="0"/>
              <a:t>С</a:t>
            </a:r>
            <a:r>
              <a:rPr lang="ru-RU" dirty="0" smtClean="0"/>
              <a:t>тратегия </a:t>
            </a:r>
            <a:r>
              <a:rPr lang="ru-RU" dirty="0"/>
              <a:t>УГМК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89916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8" name="Объект 157" hidden="1">
            <a:extLst>
              <a:ext uri="{FF2B5EF4-FFF2-40B4-BE49-F238E27FC236}">
                <a16:creationId xmlns:a16="http://schemas.microsoft.com/office/drawing/2014/main" xmlns="" id="{BD6B0E72-AE24-6F4C-A035-CB88AC94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7346" name="Слайд think-cell" r:id="rId4" imgW="7761960" imgH="100479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E0442FF-DE6C-9646-BE5E-DA81EA0A7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/>
              <a:t>География программы – 24 муниципалитета в 11 регионах</a:t>
            </a:r>
          </a:p>
        </p:txBody>
      </p:sp>
      <p:grpSp>
        <p:nvGrpSpPr>
          <p:cNvPr id="3" name="Group 159">
            <a:extLst>
              <a:ext uri="{FF2B5EF4-FFF2-40B4-BE49-F238E27FC236}">
                <a16:creationId xmlns:a16="http://schemas.microsoft.com/office/drawing/2014/main" xmlns="" id="{5F92D488-9E37-214A-95B7-766835DCF2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81100" y="992689"/>
            <a:ext cx="9829800" cy="5097246"/>
            <a:chOff x="363" y="356"/>
            <a:chExt cx="6954" cy="3606"/>
          </a:xfrm>
          <a:solidFill>
            <a:schemeClr val="bg1">
              <a:lumMod val="95000"/>
            </a:schemeClr>
          </a:solidFill>
        </p:grpSpPr>
        <p:sp>
          <p:nvSpPr>
            <p:cNvPr id="4" name="Freeform 160">
              <a:extLst>
                <a:ext uri="{FF2B5EF4-FFF2-40B4-BE49-F238E27FC236}">
                  <a16:creationId xmlns:a16="http://schemas.microsoft.com/office/drawing/2014/main" xmlns="" id="{66504A9C-4B58-6B48-B309-FA015CDA3E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" name="Freeform 161">
              <a:extLst>
                <a:ext uri="{FF2B5EF4-FFF2-40B4-BE49-F238E27FC236}">
                  <a16:creationId xmlns:a16="http://schemas.microsoft.com/office/drawing/2014/main" xmlns="" id="{D1C1847A-FEBC-BE41-82B7-FB44BB5D3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" name="Freeform 162">
              <a:extLst>
                <a:ext uri="{FF2B5EF4-FFF2-40B4-BE49-F238E27FC236}">
                  <a16:creationId xmlns:a16="http://schemas.microsoft.com/office/drawing/2014/main" xmlns="" id="{B880C777-8E26-B042-A869-E6390F6D2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" name="Freeform 163">
              <a:extLst>
                <a:ext uri="{FF2B5EF4-FFF2-40B4-BE49-F238E27FC236}">
                  <a16:creationId xmlns:a16="http://schemas.microsoft.com/office/drawing/2014/main" xmlns="" id="{723A75E3-7F3A-004E-8115-BA99A8D8D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" name="Freeform 164">
              <a:extLst>
                <a:ext uri="{FF2B5EF4-FFF2-40B4-BE49-F238E27FC236}">
                  <a16:creationId xmlns:a16="http://schemas.microsoft.com/office/drawing/2014/main" xmlns="" id="{0EE156CC-88DF-0749-BFEE-585C7CE82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" name="Freeform 165">
              <a:extLst>
                <a:ext uri="{FF2B5EF4-FFF2-40B4-BE49-F238E27FC236}">
                  <a16:creationId xmlns:a16="http://schemas.microsoft.com/office/drawing/2014/main" xmlns="" id="{1C210FD9-8ED8-B845-AD85-1537C7C6D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166">
              <a:extLst>
                <a:ext uri="{FF2B5EF4-FFF2-40B4-BE49-F238E27FC236}">
                  <a16:creationId xmlns:a16="http://schemas.microsoft.com/office/drawing/2014/main" xmlns="" id="{D1860ADB-AC27-444A-B69C-2234096C5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167">
              <a:extLst>
                <a:ext uri="{FF2B5EF4-FFF2-40B4-BE49-F238E27FC236}">
                  <a16:creationId xmlns:a16="http://schemas.microsoft.com/office/drawing/2014/main" xmlns="" id="{14A67635-7A4B-F84F-897F-D04FBEBBF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168">
              <a:extLst>
                <a:ext uri="{FF2B5EF4-FFF2-40B4-BE49-F238E27FC236}">
                  <a16:creationId xmlns:a16="http://schemas.microsoft.com/office/drawing/2014/main" xmlns="" id="{FD5A3A34-0A7C-8B43-8615-CFFE63104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69">
              <a:extLst>
                <a:ext uri="{FF2B5EF4-FFF2-40B4-BE49-F238E27FC236}">
                  <a16:creationId xmlns:a16="http://schemas.microsoft.com/office/drawing/2014/main" xmlns="" id="{4AED409A-1442-0B43-85A5-4818DE358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70">
              <a:extLst>
                <a:ext uri="{FF2B5EF4-FFF2-40B4-BE49-F238E27FC236}">
                  <a16:creationId xmlns:a16="http://schemas.microsoft.com/office/drawing/2014/main" xmlns="" id="{A53DF743-E31E-B34B-9022-4AE2FDFA8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71">
              <a:extLst>
                <a:ext uri="{FF2B5EF4-FFF2-40B4-BE49-F238E27FC236}">
                  <a16:creationId xmlns:a16="http://schemas.microsoft.com/office/drawing/2014/main" xmlns="" id="{5E1001AF-EA0D-FE4A-A989-48F4A1B90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72">
              <a:extLst>
                <a:ext uri="{FF2B5EF4-FFF2-40B4-BE49-F238E27FC236}">
                  <a16:creationId xmlns:a16="http://schemas.microsoft.com/office/drawing/2014/main" xmlns="" id="{2F808DAC-0E61-D648-8145-F5F6FFAF9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73">
              <a:extLst>
                <a:ext uri="{FF2B5EF4-FFF2-40B4-BE49-F238E27FC236}">
                  <a16:creationId xmlns:a16="http://schemas.microsoft.com/office/drawing/2014/main" xmlns="" id="{C932B275-FA77-E840-9E39-023539317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74">
              <a:extLst>
                <a:ext uri="{FF2B5EF4-FFF2-40B4-BE49-F238E27FC236}">
                  <a16:creationId xmlns:a16="http://schemas.microsoft.com/office/drawing/2014/main" xmlns="" id="{C84CDB08-5C0A-C343-BF80-76AEF49ED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75">
              <a:extLst>
                <a:ext uri="{FF2B5EF4-FFF2-40B4-BE49-F238E27FC236}">
                  <a16:creationId xmlns:a16="http://schemas.microsoft.com/office/drawing/2014/main" xmlns="" id="{C943644A-D0CB-A74D-8671-48F12DE89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6">
              <a:extLst>
                <a:ext uri="{FF2B5EF4-FFF2-40B4-BE49-F238E27FC236}">
                  <a16:creationId xmlns:a16="http://schemas.microsoft.com/office/drawing/2014/main" xmlns="" id="{7865A523-03DC-8E4D-8CFD-4749798C0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77">
              <a:extLst>
                <a:ext uri="{FF2B5EF4-FFF2-40B4-BE49-F238E27FC236}">
                  <a16:creationId xmlns:a16="http://schemas.microsoft.com/office/drawing/2014/main" xmlns="" id="{F6BBDD36-5A85-1A47-AF75-0309F7BD6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78">
              <a:extLst>
                <a:ext uri="{FF2B5EF4-FFF2-40B4-BE49-F238E27FC236}">
                  <a16:creationId xmlns:a16="http://schemas.microsoft.com/office/drawing/2014/main" xmlns="" id="{2750D059-D353-224D-80DF-842D6A2CE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79">
              <a:extLst>
                <a:ext uri="{FF2B5EF4-FFF2-40B4-BE49-F238E27FC236}">
                  <a16:creationId xmlns:a16="http://schemas.microsoft.com/office/drawing/2014/main" xmlns="" id="{509AC1BB-3921-3547-8036-966718D1A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80">
              <a:extLst>
                <a:ext uri="{FF2B5EF4-FFF2-40B4-BE49-F238E27FC236}">
                  <a16:creationId xmlns:a16="http://schemas.microsoft.com/office/drawing/2014/main" xmlns="" id="{D3708F75-8CBC-584C-980C-26020382F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181">
              <a:extLst>
                <a:ext uri="{FF2B5EF4-FFF2-40B4-BE49-F238E27FC236}">
                  <a16:creationId xmlns:a16="http://schemas.microsoft.com/office/drawing/2014/main" xmlns="" id="{F9A8A449-3980-1948-BF1A-62DF87CC8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182">
              <a:extLst>
                <a:ext uri="{FF2B5EF4-FFF2-40B4-BE49-F238E27FC236}">
                  <a16:creationId xmlns:a16="http://schemas.microsoft.com/office/drawing/2014/main" xmlns="" id="{7A49C2D2-9B01-D248-B074-2ECCF82F0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183">
              <a:extLst>
                <a:ext uri="{FF2B5EF4-FFF2-40B4-BE49-F238E27FC236}">
                  <a16:creationId xmlns:a16="http://schemas.microsoft.com/office/drawing/2014/main" xmlns="" id="{766E29A1-3BD1-0549-A4CC-CDAD779C5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84">
              <a:extLst>
                <a:ext uri="{FF2B5EF4-FFF2-40B4-BE49-F238E27FC236}">
                  <a16:creationId xmlns:a16="http://schemas.microsoft.com/office/drawing/2014/main" xmlns="" id="{AC8D5233-8008-B946-A8E2-BB7B41A60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85">
              <a:extLst>
                <a:ext uri="{FF2B5EF4-FFF2-40B4-BE49-F238E27FC236}">
                  <a16:creationId xmlns:a16="http://schemas.microsoft.com/office/drawing/2014/main" xmlns="" id="{EF98E398-1859-6C4C-8890-58535EBCA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86">
              <a:extLst>
                <a:ext uri="{FF2B5EF4-FFF2-40B4-BE49-F238E27FC236}">
                  <a16:creationId xmlns:a16="http://schemas.microsoft.com/office/drawing/2014/main" xmlns="" id="{B9688E0D-26C5-ED4B-9AD0-4C226F2D9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87">
              <a:extLst>
                <a:ext uri="{FF2B5EF4-FFF2-40B4-BE49-F238E27FC236}">
                  <a16:creationId xmlns:a16="http://schemas.microsoft.com/office/drawing/2014/main" xmlns="" id="{92A41815-AB0C-9541-B828-35AEE86B1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88">
              <a:extLst>
                <a:ext uri="{FF2B5EF4-FFF2-40B4-BE49-F238E27FC236}">
                  <a16:creationId xmlns:a16="http://schemas.microsoft.com/office/drawing/2014/main" xmlns="" id="{EEA6F814-7540-794D-B91A-315733DDC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89">
              <a:extLst>
                <a:ext uri="{FF2B5EF4-FFF2-40B4-BE49-F238E27FC236}">
                  <a16:creationId xmlns:a16="http://schemas.microsoft.com/office/drawing/2014/main" xmlns="" id="{6D6FFABB-0B55-7D43-B2DE-E3CD71C23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90">
              <a:extLst>
                <a:ext uri="{FF2B5EF4-FFF2-40B4-BE49-F238E27FC236}">
                  <a16:creationId xmlns:a16="http://schemas.microsoft.com/office/drawing/2014/main" xmlns="" id="{48A9C18C-B809-7748-A9BB-B58D5D5A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91">
              <a:extLst>
                <a:ext uri="{FF2B5EF4-FFF2-40B4-BE49-F238E27FC236}">
                  <a16:creationId xmlns:a16="http://schemas.microsoft.com/office/drawing/2014/main" xmlns="" id="{52B943BC-DC76-9A47-B48A-6CCEDB147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92">
              <a:extLst>
                <a:ext uri="{FF2B5EF4-FFF2-40B4-BE49-F238E27FC236}">
                  <a16:creationId xmlns:a16="http://schemas.microsoft.com/office/drawing/2014/main" xmlns="" id="{D8AA942B-8864-D14C-8A5D-1A1BB160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3">
              <a:extLst>
                <a:ext uri="{FF2B5EF4-FFF2-40B4-BE49-F238E27FC236}">
                  <a16:creationId xmlns:a16="http://schemas.microsoft.com/office/drawing/2014/main" xmlns="" id="{125E392A-E37B-AD48-8E92-5141F781A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94">
              <a:extLst>
                <a:ext uri="{FF2B5EF4-FFF2-40B4-BE49-F238E27FC236}">
                  <a16:creationId xmlns:a16="http://schemas.microsoft.com/office/drawing/2014/main" xmlns="" id="{28F2F453-4DA2-B040-87E0-1A6ADCEAE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95">
              <a:extLst>
                <a:ext uri="{FF2B5EF4-FFF2-40B4-BE49-F238E27FC236}">
                  <a16:creationId xmlns:a16="http://schemas.microsoft.com/office/drawing/2014/main" xmlns="" id="{0F887601-03F8-6743-8619-1CF7D6EBE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96">
              <a:extLst>
                <a:ext uri="{FF2B5EF4-FFF2-40B4-BE49-F238E27FC236}">
                  <a16:creationId xmlns:a16="http://schemas.microsoft.com/office/drawing/2014/main" xmlns="" id="{2E678FB4-7B4C-6248-840C-7A2BDE46A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97">
              <a:extLst>
                <a:ext uri="{FF2B5EF4-FFF2-40B4-BE49-F238E27FC236}">
                  <a16:creationId xmlns:a16="http://schemas.microsoft.com/office/drawing/2014/main" xmlns="" id="{0A7CDDE5-50CE-C340-971A-E5CCC896C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98">
              <a:extLst>
                <a:ext uri="{FF2B5EF4-FFF2-40B4-BE49-F238E27FC236}">
                  <a16:creationId xmlns:a16="http://schemas.microsoft.com/office/drawing/2014/main" xmlns="" id="{6F95FCE0-7CFC-E842-9F14-3BE569B7A6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9">
              <a:extLst>
                <a:ext uri="{FF2B5EF4-FFF2-40B4-BE49-F238E27FC236}">
                  <a16:creationId xmlns:a16="http://schemas.microsoft.com/office/drawing/2014/main" xmlns="" id="{18EC46E9-7D55-6645-9B47-B89DCAC15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200">
              <a:extLst>
                <a:ext uri="{FF2B5EF4-FFF2-40B4-BE49-F238E27FC236}">
                  <a16:creationId xmlns:a16="http://schemas.microsoft.com/office/drawing/2014/main" xmlns="" id="{44FAF630-5292-6242-AAB1-B1CCDDA14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201">
              <a:extLst>
                <a:ext uri="{FF2B5EF4-FFF2-40B4-BE49-F238E27FC236}">
                  <a16:creationId xmlns:a16="http://schemas.microsoft.com/office/drawing/2014/main" xmlns="" id="{645737F8-7C4E-E74C-852B-785418011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202">
              <a:extLst>
                <a:ext uri="{FF2B5EF4-FFF2-40B4-BE49-F238E27FC236}">
                  <a16:creationId xmlns:a16="http://schemas.microsoft.com/office/drawing/2014/main" xmlns="" id="{E51A79C6-B339-9D4C-8FD9-C3EB58BD1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203">
              <a:extLst>
                <a:ext uri="{FF2B5EF4-FFF2-40B4-BE49-F238E27FC236}">
                  <a16:creationId xmlns:a16="http://schemas.microsoft.com/office/drawing/2014/main" xmlns="" id="{A556D75F-0384-D44F-BFB6-3F682067F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204">
              <a:extLst>
                <a:ext uri="{FF2B5EF4-FFF2-40B4-BE49-F238E27FC236}">
                  <a16:creationId xmlns:a16="http://schemas.microsoft.com/office/drawing/2014/main" xmlns="" id="{6E650695-87CF-204E-A0F4-18A882B56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205">
              <a:extLst>
                <a:ext uri="{FF2B5EF4-FFF2-40B4-BE49-F238E27FC236}">
                  <a16:creationId xmlns:a16="http://schemas.microsoft.com/office/drawing/2014/main" xmlns="" id="{CEE44706-5BD3-B44C-8DE0-96958625D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206">
              <a:extLst>
                <a:ext uri="{FF2B5EF4-FFF2-40B4-BE49-F238E27FC236}">
                  <a16:creationId xmlns:a16="http://schemas.microsoft.com/office/drawing/2014/main" xmlns="" id="{FB0D3D36-51C7-D744-A776-CF4AEFB7E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207">
              <a:extLst>
                <a:ext uri="{FF2B5EF4-FFF2-40B4-BE49-F238E27FC236}">
                  <a16:creationId xmlns:a16="http://schemas.microsoft.com/office/drawing/2014/main" xmlns="" id="{5953FA55-237E-B845-8994-6EC2BA961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208">
              <a:extLst>
                <a:ext uri="{FF2B5EF4-FFF2-40B4-BE49-F238E27FC236}">
                  <a16:creationId xmlns:a16="http://schemas.microsoft.com/office/drawing/2014/main" xmlns="" id="{4204B5AF-B593-B045-9378-9A7C8D8B3B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209">
              <a:extLst>
                <a:ext uri="{FF2B5EF4-FFF2-40B4-BE49-F238E27FC236}">
                  <a16:creationId xmlns:a16="http://schemas.microsoft.com/office/drawing/2014/main" xmlns="" id="{81EB0E8A-92DA-804E-85BA-AD1B8DE2F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210">
              <a:extLst>
                <a:ext uri="{FF2B5EF4-FFF2-40B4-BE49-F238E27FC236}">
                  <a16:creationId xmlns:a16="http://schemas.microsoft.com/office/drawing/2014/main" xmlns="" id="{E3CC9563-60A4-E240-A5EC-95B56D39B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211">
              <a:extLst>
                <a:ext uri="{FF2B5EF4-FFF2-40B4-BE49-F238E27FC236}">
                  <a16:creationId xmlns:a16="http://schemas.microsoft.com/office/drawing/2014/main" xmlns="" id="{578AE58B-2C66-8049-9999-9714E6622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212">
              <a:extLst>
                <a:ext uri="{FF2B5EF4-FFF2-40B4-BE49-F238E27FC236}">
                  <a16:creationId xmlns:a16="http://schemas.microsoft.com/office/drawing/2014/main" xmlns="" id="{97D1BCCE-1A42-984B-9912-F07944FE2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213">
              <a:extLst>
                <a:ext uri="{FF2B5EF4-FFF2-40B4-BE49-F238E27FC236}">
                  <a16:creationId xmlns:a16="http://schemas.microsoft.com/office/drawing/2014/main" xmlns="" id="{920036EB-3349-304C-AC7F-03245E87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214">
              <a:extLst>
                <a:ext uri="{FF2B5EF4-FFF2-40B4-BE49-F238E27FC236}">
                  <a16:creationId xmlns:a16="http://schemas.microsoft.com/office/drawing/2014/main" xmlns="" id="{80E8013B-0D71-2E4A-969D-2B1C2DC80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215">
              <a:extLst>
                <a:ext uri="{FF2B5EF4-FFF2-40B4-BE49-F238E27FC236}">
                  <a16:creationId xmlns:a16="http://schemas.microsoft.com/office/drawing/2014/main" xmlns="" id="{BDC5F505-081E-3C49-BEAA-11B0D4009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216">
              <a:extLst>
                <a:ext uri="{FF2B5EF4-FFF2-40B4-BE49-F238E27FC236}">
                  <a16:creationId xmlns:a16="http://schemas.microsoft.com/office/drawing/2014/main" xmlns="" id="{7DD905D5-A47D-C248-BE1B-A7D354E60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217">
              <a:extLst>
                <a:ext uri="{FF2B5EF4-FFF2-40B4-BE49-F238E27FC236}">
                  <a16:creationId xmlns:a16="http://schemas.microsoft.com/office/drawing/2014/main" xmlns="" id="{6B92F32E-E233-1D41-8820-960061BD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218">
              <a:extLst>
                <a:ext uri="{FF2B5EF4-FFF2-40B4-BE49-F238E27FC236}">
                  <a16:creationId xmlns:a16="http://schemas.microsoft.com/office/drawing/2014/main" xmlns="" id="{00AED318-9056-5A4C-9013-BE1110514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219">
              <a:extLst>
                <a:ext uri="{FF2B5EF4-FFF2-40B4-BE49-F238E27FC236}">
                  <a16:creationId xmlns:a16="http://schemas.microsoft.com/office/drawing/2014/main" xmlns="" id="{7F8DD75D-E79F-904E-A594-ADDB9F690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220">
              <a:extLst>
                <a:ext uri="{FF2B5EF4-FFF2-40B4-BE49-F238E27FC236}">
                  <a16:creationId xmlns:a16="http://schemas.microsoft.com/office/drawing/2014/main" xmlns="" id="{45A93C42-FBDA-B246-8865-44FA4FFAC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221">
              <a:extLst>
                <a:ext uri="{FF2B5EF4-FFF2-40B4-BE49-F238E27FC236}">
                  <a16:creationId xmlns:a16="http://schemas.microsoft.com/office/drawing/2014/main" xmlns="" id="{4B5F962C-0744-CB42-B255-5C2A4260B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222">
              <a:extLst>
                <a:ext uri="{FF2B5EF4-FFF2-40B4-BE49-F238E27FC236}">
                  <a16:creationId xmlns:a16="http://schemas.microsoft.com/office/drawing/2014/main" xmlns="" id="{1C858E42-DDF9-DD4C-B77E-2F3510DEF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223">
              <a:extLst>
                <a:ext uri="{FF2B5EF4-FFF2-40B4-BE49-F238E27FC236}">
                  <a16:creationId xmlns:a16="http://schemas.microsoft.com/office/drawing/2014/main" xmlns="" id="{CFA640EE-983D-FE46-8FB9-EE17FCF95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224">
              <a:extLst>
                <a:ext uri="{FF2B5EF4-FFF2-40B4-BE49-F238E27FC236}">
                  <a16:creationId xmlns:a16="http://schemas.microsoft.com/office/drawing/2014/main" xmlns="" id="{80B7428A-F80D-464F-B26A-2E2615474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225">
              <a:extLst>
                <a:ext uri="{FF2B5EF4-FFF2-40B4-BE49-F238E27FC236}">
                  <a16:creationId xmlns:a16="http://schemas.microsoft.com/office/drawing/2014/main" xmlns="" id="{A722BF82-A8D8-CD41-86EB-AE39B0649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226">
              <a:extLst>
                <a:ext uri="{FF2B5EF4-FFF2-40B4-BE49-F238E27FC236}">
                  <a16:creationId xmlns:a16="http://schemas.microsoft.com/office/drawing/2014/main" xmlns="" id="{6C441F86-ABDA-DC4F-A1EB-50B591488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227">
              <a:extLst>
                <a:ext uri="{FF2B5EF4-FFF2-40B4-BE49-F238E27FC236}">
                  <a16:creationId xmlns:a16="http://schemas.microsoft.com/office/drawing/2014/main" xmlns="" id="{0A43089E-E1D1-014B-A924-AC73A3325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228">
              <a:extLst>
                <a:ext uri="{FF2B5EF4-FFF2-40B4-BE49-F238E27FC236}">
                  <a16:creationId xmlns:a16="http://schemas.microsoft.com/office/drawing/2014/main" xmlns="" id="{37A2F209-ED15-6D4B-8F82-F51C4FADC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229">
              <a:extLst>
                <a:ext uri="{FF2B5EF4-FFF2-40B4-BE49-F238E27FC236}">
                  <a16:creationId xmlns:a16="http://schemas.microsoft.com/office/drawing/2014/main" xmlns="" id="{6E28FAEF-D116-054C-A4BD-6D426C751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230">
              <a:extLst>
                <a:ext uri="{FF2B5EF4-FFF2-40B4-BE49-F238E27FC236}">
                  <a16:creationId xmlns:a16="http://schemas.microsoft.com/office/drawing/2014/main" xmlns="" id="{5BF30C2B-9FF0-F14A-99EA-30F24A262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75" name="Freeform 231">
              <a:extLst>
                <a:ext uri="{FF2B5EF4-FFF2-40B4-BE49-F238E27FC236}">
                  <a16:creationId xmlns:a16="http://schemas.microsoft.com/office/drawing/2014/main" xmlns="" id="{E1A546F2-7432-254E-A278-675EECDA2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232">
              <a:extLst>
                <a:ext uri="{FF2B5EF4-FFF2-40B4-BE49-F238E27FC236}">
                  <a16:creationId xmlns:a16="http://schemas.microsoft.com/office/drawing/2014/main" xmlns="" id="{C609B1BD-3291-B04F-A1F8-61CA91106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233">
              <a:extLst>
                <a:ext uri="{FF2B5EF4-FFF2-40B4-BE49-F238E27FC236}">
                  <a16:creationId xmlns:a16="http://schemas.microsoft.com/office/drawing/2014/main" xmlns="" id="{DEDD1E4F-DE80-4247-A4A7-F234B8E8D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234">
              <a:extLst>
                <a:ext uri="{FF2B5EF4-FFF2-40B4-BE49-F238E27FC236}">
                  <a16:creationId xmlns:a16="http://schemas.microsoft.com/office/drawing/2014/main" xmlns="" id="{183CADD4-4519-D04B-845F-D1648477F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235">
              <a:extLst>
                <a:ext uri="{FF2B5EF4-FFF2-40B4-BE49-F238E27FC236}">
                  <a16:creationId xmlns:a16="http://schemas.microsoft.com/office/drawing/2014/main" xmlns="" id="{D4AA9237-4EDA-194D-B403-0417BC0B8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236">
              <a:extLst>
                <a:ext uri="{FF2B5EF4-FFF2-40B4-BE49-F238E27FC236}">
                  <a16:creationId xmlns:a16="http://schemas.microsoft.com/office/drawing/2014/main" xmlns="" id="{D1175211-2ECF-B246-AA1E-E3E6B774F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237">
              <a:extLst>
                <a:ext uri="{FF2B5EF4-FFF2-40B4-BE49-F238E27FC236}">
                  <a16:creationId xmlns:a16="http://schemas.microsoft.com/office/drawing/2014/main" xmlns="" id="{5F9DA075-13EC-5C43-AF6F-5AD2F8D6E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238">
              <a:extLst>
                <a:ext uri="{FF2B5EF4-FFF2-40B4-BE49-F238E27FC236}">
                  <a16:creationId xmlns:a16="http://schemas.microsoft.com/office/drawing/2014/main" xmlns="" id="{F1F0A92E-DAD0-6F4A-9DD3-19C4DD534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239">
              <a:extLst>
                <a:ext uri="{FF2B5EF4-FFF2-40B4-BE49-F238E27FC236}">
                  <a16:creationId xmlns:a16="http://schemas.microsoft.com/office/drawing/2014/main" xmlns="" id="{8C1116E7-7588-114C-9407-D7EE30DFD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240">
              <a:extLst>
                <a:ext uri="{FF2B5EF4-FFF2-40B4-BE49-F238E27FC236}">
                  <a16:creationId xmlns:a16="http://schemas.microsoft.com/office/drawing/2014/main" xmlns="" id="{79552789-A750-3F42-9D46-B1B0CC6BD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241">
              <a:extLst>
                <a:ext uri="{FF2B5EF4-FFF2-40B4-BE49-F238E27FC236}">
                  <a16:creationId xmlns:a16="http://schemas.microsoft.com/office/drawing/2014/main" xmlns="" id="{A87D3A79-DE8C-3B49-B921-E8F48B547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242">
              <a:extLst>
                <a:ext uri="{FF2B5EF4-FFF2-40B4-BE49-F238E27FC236}">
                  <a16:creationId xmlns:a16="http://schemas.microsoft.com/office/drawing/2014/main" xmlns="" id="{9ED05CCD-7701-E546-8238-F70C27539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243">
              <a:extLst>
                <a:ext uri="{FF2B5EF4-FFF2-40B4-BE49-F238E27FC236}">
                  <a16:creationId xmlns:a16="http://schemas.microsoft.com/office/drawing/2014/main" xmlns="" id="{8884E275-1E33-5540-A920-DE5560CBC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244">
              <a:extLst>
                <a:ext uri="{FF2B5EF4-FFF2-40B4-BE49-F238E27FC236}">
                  <a16:creationId xmlns:a16="http://schemas.microsoft.com/office/drawing/2014/main" xmlns="" id="{E6780EF0-F867-1347-8700-1BB9AA55A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245">
              <a:extLst>
                <a:ext uri="{FF2B5EF4-FFF2-40B4-BE49-F238E27FC236}">
                  <a16:creationId xmlns:a16="http://schemas.microsoft.com/office/drawing/2014/main" xmlns="" id="{6F1584B1-71CB-A241-BBD8-EEF7D6E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246">
              <a:extLst>
                <a:ext uri="{FF2B5EF4-FFF2-40B4-BE49-F238E27FC236}">
                  <a16:creationId xmlns:a16="http://schemas.microsoft.com/office/drawing/2014/main" xmlns="" id="{6D962D75-A536-4F42-82DF-7DDCC2CDB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247">
              <a:extLst>
                <a:ext uri="{FF2B5EF4-FFF2-40B4-BE49-F238E27FC236}">
                  <a16:creationId xmlns:a16="http://schemas.microsoft.com/office/drawing/2014/main" xmlns="" id="{84A16F4F-492A-DE42-A4FB-37B66B956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248">
              <a:extLst>
                <a:ext uri="{FF2B5EF4-FFF2-40B4-BE49-F238E27FC236}">
                  <a16:creationId xmlns:a16="http://schemas.microsoft.com/office/drawing/2014/main" xmlns="" id="{073B4481-C2FC-D042-B52E-043736A10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249">
              <a:extLst>
                <a:ext uri="{FF2B5EF4-FFF2-40B4-BE49-F238E27FC236}">
                  <a16:creationId xmlns:a16="http://schemas.microsoft.com/office/drawing/2014/main" xmlns="" id="{788F20B9-1B56-DA40-9247-8A939BE2C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250">
              <a:extLst>
                <a:ext uri="{FF2B5EF4-FFF2-40B4-BE49-F238E27FC236}">
                  <a16:creationId xmlns:a16="http://schemas.microsoft.com/office/drawing/2014/main" xmlns="" id="{0CFF8CB8-38EE-F24A-8A0C-46E3CA981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251">
              <a:extLst>
                <a:ext uri="{FF2B5EF4-FFF2-40B4-BE49-F238E27FC236}">
                  <a16:creationId xmlns:a16="http://schemas.microsoft.com/office/drawing/2014/main" xmlns="" id="{BC9682E7-EAE2-1646-9935-BB7DD9BC0D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252">
              <a:extLst>
                <a:ext uri="{FF2B5EF4-FFF2-40B4-BE49-F238E27FC236}">
                  <a16:creationId xmlns:a16="http://schemas.microsoft.com/office/drawing/2014/main" xmlns="" id="{3793789C-A926-C847-ADA2-38F546917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253">
              <a:extLst>
                <a:ext uri="{FF2B5EF4-FFF2-40B4-BE49-F238E27FC236}">
                  <a16:creationId xmlns:a16="http://schemas.microsoft.com/office/drawing/2014/main" xmlns="" id="{A3BA0E12-67EE-3848-AD10-56244DB1E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254">
              <a:extLst>
                <a:ext uri="{FF2B5EF4-FFF2-40B4-BE49-F238E27FC236}">
                  <a16:creationId xmlns:a16="http://schemas.microsoft.com/office/drawing/2014/main" xmlns="" id="{739A318B-F951-1F46-BBF5-2FACAE6DB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255">
              <a:extLst>
                <a:ext uri="{FF2B5EF4-FFF2-40B4-BE49-F238E27FC236}">
                  <a16:creationId xmlns:a16="http://schemas.microsoft.com/office/drawing/2014/main" xmlns="" id="{1F931C1D-ACCC-6D4F-A34F-CB183F89F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256">
              <a:extLst>
                <a:ext uri="{FF2B5EF4-FFF2-40B4-BE49-F238E27FC236}">
                  <a16:creationId xmlns:a16="http://schemas.microsoft.com/office/drawing/2014/main" xmlns="" id="{4238D3F0-323A-B748-BCC1-375F54C27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257">
              <a:extLst>
                <a:ext uri="{FF2B5EF4-FFF2-40B4-BE49-F238E27FC236}">
                  <a16:creationId xmlns:a16="http://schemas.microsoft.com/office/drawing/2014/main" xmlns="" id="{CECA8E5B-5CC6-7F4D-AF5A-08975AF27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258">
              <a:extLst>
                <a:ext uri="{FF2B5EF4-FFF2-40B4-BE49-F238E27FC236}">
                  <a16:creationId xmlns:a16="http://schemas.microsoft.com/office/drawing/2014/main" xmlns="" id="{E9217335-B801-6442-9A47-95CEBF9F1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259">
              <a:extLst>
                <a:ext uri="{FF2B5EF4-FFF2-40B4-BE49-F238E27FC236}">
                  <a16:creationId xmlns:a16="http://schemas.microsoft.com/office/drawing/2014/main" xmlns="" id="{8740859E-FF83-9748-8EC9-CFC0D747E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260">
              <a:extLst>
                <a:ext uri="{FF2B5EF4-FFF2-40B4-BE49-F238E27FC236}">
                  <a16:creationId xmlns:a16="http://schemas.microsoft.com/office/drawing/2014/main" xmlns="" id="{62CA8979-5C4A-EC48-B82C-DDD781671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261">
              <a:extLst>
                <a:ext uri="{FF2B5EF4-FFF2-40B4-BE49-F238E27FC236}">
                  <a16:creationId xmlns:a16="http://schemas.microsoft.com/office/drawing/2014/main" xmlns="" id="{B8B6A2BF-AEF7-6C4F-B5D4-EFE15CC6A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262">
              <a:extLst>
                <a:ext uri="{FF2B5EF4-FFF2-40B4-BE49-F238E27FC236}">
                  <a16:creationId xmlns:a16="http://schemas.microsoft.com/office/drawing/2014/main" xmlns="" id="{2DADD314-AE20-3949-8D50-6FB97DEF2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263">
              <a:extLst>
                <a:ext uri="{FF2B5EF4-FFF2-40B4-BE49-F238E27FC236}">
                  <a16:creationId xmlns:a16="http://schemas.microsoft.com/office/drawing/2014/main" xmlns="" id="{B0945C21-CD73-B94C-9920-EE5DD142B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264">
              <a:extLst>
                <a:ext uri="{FF2B5EF4-FFF2-40B4-BE49-F238E27FC236}">
                  <a16:creationId xmlns:a16="http://schemas.microsoft.com/office/drawing/2014/main" xmlns="" id="{227BF5F4-0498-0242-916C-4B9986EEE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265">
              <a:extLst>
                <a:ext uri="{FF2B5EF4-FFF2-40B4-BE49-F238E27FC236}">
                  <a16:creationId xmlns:a16="http://schemas.microsoft.com/office/drawing/2014/main" xmlns="" id="{BC842730-17F2-AF45-9E62-364DC8C18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266">
              <a:extLst>
                <a:ext uri="{FF2B5EF4-FFF2-40B4-BE49-F238E27FC236}">
                  <a16:creationId xmlns:a16="http://schemas.microsoft.com/office/drawing/2014/main" xmlns="" id="{7457DF39-423F-6941-A265-AAC236100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267">
              <a:extLst>
                <a:ext uri="{FF2B5EF4-FFF2-40B4-BE49-F238E27FC236}">
                  <a16:creationId xmlns:a16="http://schemas.microsoft.com/office/drawing/2014/main" xmlns="" id="{84EF0AEF-FC41-5446-9057-2F3675A5B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268">
              <a:extLst>
                <a:ext uri="{FF2B5EF4-FFF2-40B4-BE49-F238E27FC236}">
                  <a16:creationId xmlns:a16="http://schemas.microsoft.com/office/drawing/2014/main" xmlns="" id="{5779009F-3AD1-0D4C-8D7B-AC4ED9A63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269">
              <a:extLst>
                <a:ext uri="{FF2B5EF4-FFF2-40B4-BE49-F238E27FC236}">
                  <a16:creationId xmlns:a16="http://schemas.microsoft.com/office/drawing/2014/main" xmlns="" id="{7A02732A-2E54-1546-90D9-FDACAA1F9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270">
              <a:extLst>
                <a:ext uri="{FF2B5EF4-FFF2-40B4-BE49-F238E27FC236}">
                  <a16:creationId xmlns:a16="http://schemas.microsoft.com/office/drawing/2014/main" xmlns="" id="{BDBB3495-F9FA-C14B-94CD-577937C09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271">
              <a:extLst>
                <a:ext uri="{FF2B5EF4-FFF2-40B4-BE49-F238E27FC236}">
                  <a16:creationId xmlns:a16="http://schemas.microsoft.com/office/drawing/2014/main" xmlns="" id="{69A03C14-4669-5D4D-8FA4-4000BD03D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272">
              <a:extLst>
                <a:ext uri="{FF2B5EF4-FFF2-40B4-BE49-F238E27FC236}">
                  <a16:creationId xmlns:a16="http://schemas.microsoft.com/office/drawing/2014/main" xmlns="" id="{97D7568B-5794-F34D-92F3-BF9877281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273">
              <a:extLst>
                <a:ext uri="{FF2B5EF4-FFF2-40B4-BE49-F238E27FC236}">
                  <a16:creationId xmlns:a16="http://schemas.microsoft.com/office/drawing/2014/main" xmlns="" id="{18D11B0D-157D-D448-A75A-298AB71FE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274">
              <a:extLst>
                <a:ext uri="{FF2B5EF4-FFF2-40B4-BE49-F238E27FC236}">
                  <a16:creationId xmlns:a16="http://schemas.microsoft.com/office/drawing/2014/main" xmlns="" id="{A4A103EF-ED0B-F942-A8A9-E99A79C01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275">
              <a:extLst>
                <a:ext uri="{FF2B5EF4-FFF2-40B4-BE49-F238E27FC236}">
                  <a16:creationId xmlns:a16="http://schemas.microsoft.com/office/drawing/2014/main" xmlns="" id="{E311B0C5-0F3E-6D4C-B5DD-1FCB2E931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276">
              <a:extLst>
                <a:ext uri="{FF2B5EF4-FFF2-40B4-BE49-F238E27FC236}">
                  <a16:creationId xmlns:a16="http://schemas.microsoft.com/office/drawing/2014/main" xmlns="" id="{2DA5549D-A577-2343-A84A-1B39ABADA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277">
              <a:extLst>
                <a:ext uri="{FF2B5EF4-FFF2-40B4-BE49-F238E27FC236}">
                  <a16:creationId xmlns:a16="http://schemas.microsoft.com/office/drawing/2014/main" xmlns="" id="{16930E29-23CA-2240-A1C2-CE7B6201B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278">
              <a:extLst>
                <a:ext uri="{FF2B5EF4-FFF2-40B4-BE49-F238E27FC236}">
                  <a16:creationId xmlns:a16="http://schemas.microsoft.com/office/drawing/2014/main" xmlns="" id="{D83D4A3F-958A-A447-9EFF-AF22C3D33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279">
              <a:extLst>
                <a:ext uri="{FF2B5EF4-FFF2-40B4-BE49-F238E27FC236}">
                  <a16:creationId xmlns:a16="http://schemas.microsoft.com/office/drawing/2014/main" xmlns="" id="{DB681764-3F2D-124B-A6B0-9AAD24D9A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280">
              <a:extLst>
                <a:ext uri="{FF2B5EF4-FFF2-40B4-BE49-F238E27FC236}">
                  <a16:creationId xmlns:a16="http://schemas.microsoft.com/office/drawing/2014/main" xmlns="" id="{5ADCB851-4DA4-2D42-9864-4331A99C1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281">
              <a:extLst>
                <a:ext uri="{FF2B5EF4-FFF2-40B4-BE49-F238E27FC236}">
                  <a16:creationId xmlns:a16="http://schemas.microsoft.com/office/drawing/2014/main" xmlns="" id="{0C52C1D1-8A90-C64F-A387-B2A2FD6FC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282">
              <a:extLst>
                <a:ext uri="{FF2B5EF4-FFF2-40B4-BE49-F238E27FC236}">
                  <a16:creationId xmlns:a16="http://schemas.microsoft.com/office/drawing/2014/main" xmlns="" id="{D5F018CA-F36E-C849-8CA2-277B3C9E5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7" name="Freeform 283">
              <a:extLst>
                <a:ext uri="{FF2B5EF4-FFF2-40B4-BE49-F238E27FC236}">
                  <a16:creationId xmlns:a16="http://schemas.microsoft.com/office/drawing/2014/main" xmlns="" id="{D8BFF65F-5BB8-364B-80F7-3EFA59FF8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8" name="Freeform 284">
              <a:extLst>
                <a:ext uri="{FF2B5EF4-FFF2-40B4-BE49-F238E27FC236}">
                  <a16:creationId xmlns:a16="http://schemas.microsoft.com/office/drawing/2014/main" xmlns="" id="{885C18D9-2F18-544D-B57E-5C13F160A4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9" name="Freeform 285">
              <a:extLst>
                <a:ext uri="{FF2B5EF4-FFF2-40B4-BE49-F238E27FC236}">
                  <a16:creationId xmlns:a16="http://schemas.microsoft.com/office/drawing/2014/main" xmlns="" id="{0B785F23-0698-EC4C-BADE-6938E2D7A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0" name="Freeform 286">
              <a:extLst>
                <a:ext uri="{FF2B5EF4-FFF2-40B4-BE49-F238E27FC236}">
                  <a16:creationId xmlns:a16="http://schemas.microsoft.com/office/drawing/2014/main" xmlns="" id="{3AFB6C4D-5058-BA43-B2E0-E1468A4AB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287">
              <a:extLst>
                <a:ext uri="{FF2B5EF4-FFF2-40B4-BE49-F238E27FC236}">
                  <a16:creationId xmlns:a16="http://schemas.microsoft.com/office/drawing/2014/main" xmlns="" id="{470462BF-2819-DD4B-AE97-18CB33FFD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288">
              <a:extLst>
                <a:ext uri="{FF2B5EF4-FFF2-40B4-BE49-F238E27FC236}">
                  <a16:creationId xmlns:a16="http://schemas.microsoft.com/office/drawing/2014/main" xmlns="" id="{05B17CB2-855C-BB4B-8F38-A576C17BB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289">
              <a:extLst>
                <a:ext uri="{FF2B5EF4-FFF2-40B4-BE49-F238E27FC236}">
                  <a16:creationId xmlns:a16="http://schemas.microsoft.com/office/drawing/2014/main" xmlns="" id="{C9E0D6E7-26A4-0E4F-A518-B83F644A4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290">
              <a:extLst>
                <a:ext uri="{FF2B5EF4-FFF2-40B4-BE49-F238E27FC236}">
                  <a16:creationId xmlns:a16="http://schemas.microsoft.com/office/drawing/2014/main" xmlns="" id="{A53D24B7-D4D9-A144-B208-5471034DE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291">
              <a:extLst>
                <a:ext uri="{FF2B5EF4-FFF2-40B4-BE49-F238E27FC236}">
                  <a16:creationId xmlns:a16="http://schemas.microsoft.com/office/drawing/2014/main" xmlns="" id="{F1C4516C-9CFC-294A-AFB6-2DA4CE569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292">
              <a:extLst>
                <a:ext uri="{FF2B5EF4-FFF2-40B4-BE49-F238E27FC236}">
                  <a16:creationId xmlns:a16="http://schemas.microsoft.com/office/drawing/2014/main" xmlns="" id="{4DF79500-FEC6-BB42-9350-66EB92C89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293">
              <a:extLst>
                <a:ext uri="{FF2B5EF4-FFF2-40B4-BE49-F238E27FC236}">
                  <a16:creationId xmlns:a16="http://schemas.microsoft.com/office/drawing/2014/main" xmlns="" id="{A10842A4-D265-CF4C-9B10-8AB9EB8EA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294">
              <a:extLst>
                <a:ext uri="{FF2B5EF4-FFF2-40B4-BE49-F238E27FC236}">
                  <a16:creationId xmlns:a16="http://schemas.microsoft.com/office/drawing/2014/main" xmlns="" id="{4823BF8D-DAE7-FD47-8A08-4E2809F4A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295">
              <a:extLst>
                <a:ext uri="{FF2B5EF4-FFF2-40B4-BE49-F238E27FC236}">
                  <a16:creationId xmlns:a16="http://schemas.microsoft.com/office/drawing/2014/main" xmlns="" id="{D49E7CDA-C4AD-BC4D-B36D-B8A669466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296">
              <a:extLst>
                <a:ext uri="{FF2B5EF4-FFF2-40B4-BE49-F238E27FC236}">
                  <a16:creationId xmlns:a16="http://schemas.microsoft.com/office/drawing/2014/main" xmlns="" id="{634505E9-B228-9041-859A-04D619AB5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297">
              <a:extLst>
                <a:ext uri="{FF2B5EF4-FFF2-40B4-BE49-F238E27FC236}">
                  <a16:creationId xmlns:a16="http://schemas.microsoft.com/office/drawing/2014/main" xmlns="" id="{43973461-0D0E-0747-8F13-519B4EE86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298">
              <a:extLst>
                <a:ext uri="{FF2B5EF4-FFF2-40B4-BE49-F238E27FC236}">
                  <a16:creationId xmlns:a16="http://schemas.microsoft.com/office/drawing/2014/main" xmlns="" id="{9052BFFA-0806-2142-BBA5-C66AC62F7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299">
              <a:extLst>
                <a:ext uri="{FF2B5EF4-FFF2-40B4-BE49-F238E27FC236}">
                  <a16:creationId xmlns:a16="http://schemas.microsoft.com/office/drawing/2014/main" xmlns="" id="{0EC5967D-92CF-0C45-93C6-6A190962A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4" name="Freeform 300">
              <a:extLst>
                <a:ext uri="{FF2B5EF4-FFF2-40B4-BE49-F238E27FC236}">
                  <a16:creationId xmlns:a16="http://schemas.microsoft.com/office/drawing/2014/main" xmlns="" id="{76CDBCA2-295E-8348-A39C-6E555C27A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5" name="Freeform 301">
              <a:extLst>
                <a:ext uri="{FF2B5EF4-FFF2-40B4-BE49-F238E27FC236}">
                  <a16:creationId xmlns:a16="http://schemas.microsoft.com/office/drawing/2014/main" xmlns="" id="{DECC7608-ABE0-7D49-8441-43C5D501C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6" name="Freeform 302">
              <a:extLst>
                <a:ext uri="{FF2B5EF4-FFF2-40B4-BE49-F238E27FC236}">
                  <a16:creationId xmlns:a16="http://schemas.microsoft.com/office/drawing/2014/main" xmlns="" id="{A8D49D70-D568-3E44-B7EC-93080BAA4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7" name="Freeform 303">
              <a:extLst>
                <a:ext uri="{FF2B5EF4-FFF2-40B4-BE49-F238E27FC236}">
                  <a16:creationId xmlns:a16="http://schemas.microsoft.com/office/drawing/2014/main" xmlns="" id="{8E21D9E0-3A6B-274E-928D-10BA22932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8" name="Freeform 304">
              <a:extLst>
                <a:ext uri="{FF2B5EF4-FFF2-40B4-BE49-F238E27FC236}">
                  <a16:creationId xmlns:a16="http://schemas.microsoft.com/office/drawing/2014/main" xmlns="" id="{DABC1F62-9DFB-7948-B35A-FB7A78A5F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9" name="Freeform 305">
              <a:extLst>
                <a:ext uri="{FF2B5EF4-FFF2-40B4-BE49-F238E27FC236}">
                  <a16:creationId xmlns:a16="http://schemas.microsoft.com/office/drawing/2014/main" xmlns="" id="{F8C36D3B-9EF1-5948-A591-650B6FDEE4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0" name="Freeform 306">
              <a:extLst>
                <a:ext uri="{FF2B5EF4-FFF2-40B4-BE49-F238E27FC236}">
                  <a16:creationId xmlns:a16="http://schemas.microsoft.com/office/drawing/2014/main" xmlns="" id="{1FDC13B8-75CE-EF47-95A3-D065901FA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1" name="Freeform 307">
              <a:extLst>
                <a:ext uri="{FF2B5EF4-FFF2-40B4-BE49-F238E27FC236}">
                  <a16:creationId xmlns:a16="http://schemas.microsoft.com/office/drawing/2014/main" xmlns="" id="{8D573503-0740-E546-B7DE-6C0EB6A42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2" name="Freeform 308">
              <a:extLst>
                <a:ext uri="{FF2B5EF4-FFF2-40B4-BE49-F238E27FC236}">
                  <a16:creationId xmlns:a16="http://schemas.microsoft.com/office/drawing/2014/main" xmlns="" id="{894B6BB6-47C4-C944-A554-28329B2AE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3" name="Freeform 309">
              <a:extLst>
                <a:ext uri="{FF2B5EF4-FFF2-40B4-BE49-F238E27FC236}">
                  <a16:creationId xmlns:a16="http://schemas.microsoft.com/office/drawing/2014/main" xmlns="" id="{4F9047B2-0572-CE42-8B6C-38E6CE425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4" name="Freeform 310">
              <a:extLst>
                <a:ext uri="{FF2B5EF4-FFF2-40B4-BE49-F238E27FC236}">
                  <a16:creationId xmlns:a16="http://schemas.microsoft.com/office/drawing/2014/main" xmlns="" id="{D05CFB91-0470-0844-AE72-C89EB3B79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5" name="Freeform 311">
              <a:extLst>
                <a:ext uri="{FF2B5EF4-FFF2-40B4-BE49-F238E27FC236}">
                  <a16:creationId xmlns:a16="http://schemas.microsoft.com/office/drawing/2014/main" xmlns="" id="{85226000-D676-4A40-96E4-012B3D3F6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56" name="Овал 155">
            <a:extLst>
              <a:ext uri="{FF2B5EF4-FFF2-40B4-BE49-F238E27FC236}">
                <a16:creationId xmlns:a16="http://schemas.microsoft.com/office/drawing/2014/main" xmlns="" id="{FDE70605-269E-4E4B-A3AE-FD9A4F094F92}"/>
              </a:ext>
            </a:extLst>
          </p:cNvPr>
          <p:cNvSpPr>
            <a:spLocks noChangeAspect="1"/>
          </p:cNvSpPr>
          <p:nvPr/>
        </p:nvSpPr>
        <p:spPr>
          <a:xfrm>
            <a:off x="3812995" y="4178348"/>
            <a:ext cx="72000" cy="72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xmlns="" id="{A27A3813-A2D7-D244-AD2C-A3783262F6F8}"/>
              </a:ext>
            </a:extLst>
          </p:cNvPr>
          <p:cNvSpPr>
            <a:spLocks noChangeAspect="1"/>
          </p:cNvSpPr>
          <p:nvPr/>
        </p:nvSpPr>
        <p:spPr>
          <a:xfrm>
            <a:off x="3752145" y="4078204"/>
            <a:ext cx="72000" cy="72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0" name="Овал 169">
            <a:extLst>
              <a:ext uri="{FF2B5EF4-FFF2-40B4-BE49-F238E27FC236}">
                <a16:creationId xmlns:a16="http://schemas.microsoft.com/office/drawing/2014/main" xmlns="" id="{26991267-FE14-CC43-B9EA-870085CC0A5D}"/>
              </a:ext>
            </a:extLst>
          </p:cNvPr>
          <p:cNvSpPr>
            <a:spLocks noChangeAspect="1"/>
          </p:cNvSpPr>
          <p:nvPr/>
        </p:nvSpPr>
        <p:spPr>
          <a:xfrm>
            <a:off x="3681076" y="4177149"/>
            <a:ext cx="72000" cy="72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157" name="Группа 235">
            <a:extLst>
              <a:ext uri="{FF2B5EF4-FFF2-40B4-BE49-F238E27FC236}">
                <a16:creationId xmlns:a16="http://schemas.microsoft.com/office/drawing/2014/main" xmlns="" id="{5C4402AA-5E62-5046-9301-79C4839FB8EE}"/>
              </a:ext>
            </a:extLst>
          </p:cNvPr>
          <p:cNvGrpSpPr/>
          <p:nvPr/>
        </p:nvGrpSpPr>
        <p:grpSpPr>
          <a:xfrm>
            <a:off x="2730153" y="1058132"/>
            <a:ext cx="1155409" cy="3192668"/>
            <a:chOff x="2841358" y="1372860"/>
            <a:chExt cx="1155409" cy="3192668"/>
          </a:xfrm>
        </p:grpSpPr>
        <p:sp>
          <p:nvSpPr>
            <p:cNvPr id="237" name="Овал 236">
              <a:extLst>
                <a:ext uri="{FF2B5EF4-FFF2-40B4-BE49-F238E27FC236}">
                  <a16:creationId xmlns:a16="http://schemas.microsoft.com/office/drawing/2014/main" xmlns="" id="{5A669751-106E-3945-A76E-86EAF6D034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24767" y="4493528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xmlns="" id="{8EBE0C13-C7B0-454D-8E5D-CD3C0A3C43CB}"/>
                </a:ext>
              </a:extLst>
            </p:cNvPr>
            <p:cNvSpPr txBox="1"/>
            <p:nvPr/>
          </p:nvSpPr>
          <p:spPr>
            <a:xfrm>
              <a:off x="2932321" y="1372860"/>
              <a:ext cx="98103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Верхняя Пышма</a:t>
              </a:r>
            </a:p>
          </p:txBody>
        </p:sp>
        <p:cxnSp>
          <p:nvCxnSpPr>
            <p:cNvPr id="239" name="Соединительная линия уступом 238">
              <a:extLst>
                <a:ext uri="{FF2B5EF4-FFF2-40B4-BE49-F238E27FC236}">
                  <a16:creationId xmlns:a16="http://schemas.microsoft.com/office/drawing/2014/main" xmlns="" id="{87C6224A-DA14-6445-BE0A-EF1365F21CC1}"/>
                </a:ext>
              </a:extLst>
            </p:cNvPr>
            <p:cNvCxnSpPr>
              <a:cxnSpLocks/>
              <a:stCxn id="237" idx="0"/>
            </p:cNvCxnSpPr>
            <p:nvPr/>
          </p:nvCxnSpPr>
          <p:spPr>
            <a:xfrm rot="16200000" flipV="1">
              <a:off x="1937783" y="2470544"/>
              <a:ext cx="2926559" cy="1119410"/>
            </a:xfrm>
            <a:prstGeom prst="bentConnector3">
              <a:avLst>
                <a:gd name="adj1" fmla="val 100037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9" name="Группа 239">
            <a:extLst>
              <a:ext uri="{FF2B5EF4-FFF2-40B4-BE49-F238E27FC236}">
                <a16:creationId xmlns:a16="http://schemas.microsoft.com/office/drawing/2014/main" xmlns="" id="{477DC507-BCEF-5F4C-839A-85870E5E6DBF}"/>
              </a:ext>
            </a:extLst>
          </p:cNvPr>
          <p:cNvGrpSpPr/>
          <p:nvPr/>
        </p:nvGrpSpPr>
        <p:grpSpPr>
          <a:xfrm>
            <a:off x="3952280" y="1430963"/>
            <a:ext cx="1078028" cy="2589157"/>
            <a:chOff x="4007883" y="1758042"/>
            <a:chExt cx="1078028" cy="2589157"/>
          </a:xfrm>
        </p:grpSpPr>
        <p:sp>
          <p:nvSpPr>
            <p:cNvPr id="241" name="Овал 240">
              <a:extLst>
                <a:ext uri="{FF2B5EF4-FFF2-40B4-BE49-F238E27FC236}">
                  <a16:creationId xmlns:a16="http://schemas.microsoft.com/office/drawing/2014/main" xmlns="" id="{15BE40EA-51FE-1244-B4EE-6CC74044C0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7883" y="4275199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xmlns="" id="{17443CFB-0135-2E4B-B1F4-0C80B47950F0}"/>
                </a:ext>
              </a:extLst>
            </p:cNvPr>
            <p:cNvSpPr txBox="1"/>
            <p:nvPr/>
          </p:nvSpPr>
          <p:spPr>
            <a:xfrm>
              <a:off x="4093309" y="1758042"/>
              <a:ext cx="88966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Красноуральск</a:t>
              </a:r>
            </a:p>
          </p:txBody>
        </p:sp>
        <p:cxnSp>
          <p:nvCxnSpPr>
            <p:cNvPr id="243" name="Соединительная линия уступом 242">
              <a:extLst>
                <a:ext uri="{FF2B5EF4-FFF2-40B4-BE49-F238E27FC236}">
                  <a16:creationId xmlns:a16="http://schemas.microsoft.com/office/drawing/2014/main" xmlns="" id="{E0FD698D-385C-6442-BD6F-BF8B1B1EECB7}"/>
                </a:ext>
              </a:extLst>
            </p:cNvPr>
            <p:cNvCxnSpPr>
              <a:cxnSpLocks/>
              <a:stCxn id="241" idx="0"/>
            </p:cNvCxnSpPr>
            <p:nvPr/>
          </p:nvCxnSpPr>
          <p:spPr>
            <a:xfrm rot="5400000" flipH="1" flipV="1">
              <a:off x="3403981" y="2593269"/>
              <a:ext cx="2321832" cy="1042029"/>
            </a:xfrm>
            <a:prstGeom prst="bentConnector3">
              <a:avLst>
                <a:gd name="adj1" fmla="val 100063"/>
              </a:avLst>
            </a:prstGeom>
            <a:ln w="9525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Группа 243">
            <a:extLst>
              <a:ext uri="{FF2B5EF4-FFF2-40B4-BE49-F238E27FC236}">
                <a16:creationId xmlns:a16="http://schemas.microsoft.com/office/drawing/2014/main" xmlns="" id="{A02A2B96-81EF-8844-8767-4914D8E15621}"/>
              </a:ext>
            </a:extLst>
          </p:cNvPr>
          <p:cNvGrpSpPr/>
          <p:nvPr/>
        </p:nvGrpSpPr>
        <p:grpSpPr>
          <a:xfrm>
            <a:off x="4101205" y="1913128"/>
            <a:ext cx="1080177" cy="1885927"/>
            <a:chOff x="4088849" y="2215494"/>
            <a:chExt cx="1080177" cy="1885927"/>
          </a:xfrm>
        </p:grpSpPr>
        <p:sp>
          <p:nvSpPr>
            <p:cNvPr id="245" name="Овал 244">
              <a:extLst>
                <a:ext uri="{FF2B5EF4-FFF2-40B4-BE49-F238E27FC236}">
                  <a16:creationId xmlns:a16="http://schemas.microsoft.com/office/drawing/2014/main" xmlns="" id="{74764440-5056-8E46-9509-E18ACF9111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88849" y="4029421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xmlns="" id="{51D10536-59DC-724A-9A76-51CB9E99D9B2}"/>
                </a:ext>
              </a:extLst>
            </p:cNvPr>
            <p:cNvSpPr txBox="1"/>
            <p:nvPr/>
          </p:nvSpPr>
          <p:spPr>
            <a:xfrm>
              <a:off x="4175628" y="2215494"/>
              <a:ext cx="94577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Краснотурьинск</a:t>
              </a:r>
            </a:p>
          </p:txBody>
        </p:sp>
        <p:cxnSp>
          <p:nvCxnSpPr>
            <p:cNvPr id="247" name="Соединительная линия уступом 246">
              <a:extLst>
                <a:ext uri="{FF2B5EF4-FFF2-40B4-BE49-F238E27FC236}">
                  <a16:creationId xmlns:a16="http://schemas.microsoft.com/office/drawing/2014/main" xmlns="" id="{74686FDE-7291-E747-9AED-ED8653298748}"/>
                </a:ext>
              </a:extLst>
            </p:cNvPr>
            <p:cNvCxnSpPr>
              <a:cxnSpLocks/>
              <a:stCxn id="245" idx="0"/>
            </p:cNvCxnSpPr>
            <p:nvPr/>
          </p:nvCxnSpPr>
          <p:spPr>
            <a:xfrm rot="5400000" flipH="1" flipV="1">
              <a:off x="3834844" y="2695240"/>
              <a:ext cx="1624187" cy="1044177"/>
            </a:xfrm>
            <a:prstGeom prst="bentConnector3">
              <a:avLst>
                <a:gd name="adj1" fmla="val 99619"/>
              </a:avLst>
            </a:prstGeom>
            <a:ln w="9525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1" name="Группа 247">
            <a:extLst>
              <a:ext uri="{FF2B5EF4-FFF2-40B4-BE49-F238E27FC236}">
                <a16:creationId xmlns:a16="http://schemas.microsoft.com/office/drawing/2014/main" xmlns="" id="{DC7A822B-1675-5341-B455-17CBEFC5D35D}"/>
              </a:ext>
            </a:extLst>
          </p:cNvPr>
          <p:cNvGrpSpPr/>
          <p:nvPr/>
        </p:nvGrpSpPr>
        <p:grpSpPr>
          <a:xfrm>
            <a:off x="4190320" y="2343832"/>
            <a:ext cx="506533" cy="1500340"/>
            <a:chOff x="4202676" y="2664732"/>
            <a:chExt cx="506533" cy="1500340"/>
          </a:xfrm>
        </p:grpSpPr>
        <p:sp>
          <p:nvSpPr>
            <p:cNvPr id="249" name="Овал 248">
              <a:extLst>
                <a:ext uri="{FF2B5EF4-FFF2-40B4-BE49-F238E27FC236}">
                  <a16:creationId xmlns:a16="http://schemas.microsoft.com/office/drawing/2014/main" xmlns="" id="{3F856489-19AF-154A-B7B4-BAD7B490F5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02676" y="4093072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xmlns="" id="{DBF64378-D655-B547-BF58-4D92302F7596}"/>
                </a:ext>
              </a:extLst>
            </p:cNvPr>
            <p:cNvSpPr txBox="1"/>
            <p:nvPr/>
          </p:nvSpPr>
          <p:spPr>
            <a:xfrm>
              <a:off x="4278310" y="2664732"/>
              <a:ext cx="37350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Серов</a:t>
              </a:r>
            </a:p>
          </p:txBody>
        </p:sp>
        <p:cxnSp>
          <p:nvCxnSpPr>
            <p:cNvPr id="251" name="Соединительная линия уступом 250">
              <a:extLst>
                <a:ext uri="{FF2B5EF4-FFF2-40B4-BE49-F238E27FC236}">
                  <a16:creationId xmlns:a16="http://schemas.microsoft.com/office/drawing/2014/main" xmlns="" id="{A25AE9C1-FFFB-A340-822B-799964AD1C4A}"/>
                </a:ext>
              </a:extLst>
            </p:cNvPr>
            <p:cNvCxnSpPr>
              <a:cxnSpLocks/>
              <a:stCxn id="249" idx="0"/>
            </p:cNvCxnSpPr>
            <p:nvPr/>
          </p:nvCxnSpPr>
          <p:spPr>
            <a:xfrm rot="5400000" flipH="1" flipV="1">
              <a:off x="3851530" y="3235394"/>
              <a:ext cx="1244825" cy="470532"/>
            </a:xfrm>
            <a:prstGeom prst="bentConnector3">
              <a:avLst>
                <a:gd name="adj1" fmla="val 99801"/>
              </a:avLst>
            </a:prstGeom>
            <a:ln w="9525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2" name="Группа 251">
            <a:extLst>
              <a:ext uri="{FF2B5EF4-FFF2-40B4-BE49-F238E27FC236}">
                <a16:creationId xmlns:a16="http://schemas.microsoft.com/office/drawing/2014/main" xmlns="" id="{46CB388A-5796-E649-AEC0-BD6933E19B66}"/>
              </a:ext>
            </a:extLst>
          </p:cNvPr>
          <p:cNvGrpSpPr/>
          <p:nvPr/>
        </p:nvGrpSpPr>
        <p:grpSpPr>
          <a:xfrm>
            <a:off x="3273719" y="1500886"/>
            <a:ext cx="547521" cy="2650426"/>
            <a:chOff x="3391105" y="1803251"/>
            <a:chExt cx="547521" cy="2650426"/>
          </a:xfrm>
        </p:grpSpPr>
        <p:sp>
          <p:nvSpPr>
            <p:cNvPr id="253" name="Овал 252">
              <a:extLst>
                <a:ext uri="{FF2B5EF4-FFF2-40B4-BE49-F238E27FC236}">
                  <a16:creationId xmlns:a16="http://schemas.microsoft.com/office/drawing/2014/main" xmlns="" id="{41BAE9FD-885D-0740-B76D-F61BFC00E6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66626" y="4381677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xmlns="" id="{6BA371A2-C233-9444-8B3C-7EE8EAC0655E}"/>
                </a:ext>
              </a:extLst>
            </p:cNvPr>
            <p:cNvSpPr txBox="1"/>
            <p:nvPr/>
          </p:nvSpPr>
          <p:spPr>
            <a:xfrm>
              <a:off x="3459477" y="1803251"/>
              <a:ext cx="3702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Ревда</a:t>
              </a:r>
            </a:p>
          </p:txBody>
        </p:sp>
        <p:cxnSp>
          <p:nvCxnSpPr>
            <p:cNvPr id="255" name="Соединительная линия уступом 254">
              <a:extLst>
                <a:ext uri="{FF2B5EF4-FFF2-40B4-BE49-F238E27FC236}">
                  <a16:creationId xmlns:a16="http://schemas.microsoft.com/office/drawing/2014/main" xmlns="" id="{FD8E0EBE-6A22-9043-95D5-05766314EAAF}"/>
                </a:ext>
              </a:extLst>
            </p:cNvPr>
            <p:cNvCxnSpPr>
              <a:cxnSpLocks/>
              <a:stCxn id="253" idx="0"/>
            </p:cNvCxnSpPr>
            <p:nvPr/>
          </p:nvCxnSpPr>
          <p:spPr>
            <a:xfrm rot="16200000" flipV="1">
              <a:off x="2455022" y="2934072"/>
              <a:ext cx="2383688" cy="511521"/>
            </a:xfrm>
            <a:prstGeom prst="bentConnector3">
              <a:avLst>
                <a:gd name="adj1" fmla="val 100036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4" name="Группа 255">
            <a:extLst>
              <a:ext uri="{FF2B5EF4-FFF2-40B4-BE49-F238E27FC236}">
                <a16:creationId xmlns:a16="http://schemas.microsoft.com/office/drawing/2014/main" xmlns="" id="{558BF18F-D81A-8E43-8BFE-EFC8538B73F1}"/>
              </a:ext>
            </a:extLst>
          </p:cNvPr>
          <p:cNvGrpSpPr/>
          <p:nvPr/>
        </p:nvGrpSpPr>
        <p:grpSpPr>
          <a:xfrm>
            <a:off x="2757004" y="1892807"/>
            <a:ext cx="997773" cy="2356828"/>
            <a:chOff x="2880570" y="2201352"/>
            <a:chExt cx="997773" cy="2356828"/>
          </a:xfrm>
        </p:grpSpPr>
        <p:sp>
          <p:nvSpPr>
            <p:cNvPr id="257" name="Овал 256">
              <a:extLst>
                <a:ext uri="{FF2B5EF4-FFF2-40B4-BE49-F238E27FC236}">
                  <a16:creationId xmlns:a16="http://schemas.microsoft.com/office/drawing/2014/main" xmlns="" id="{3F3A5890-BA48-5346-B137-C88CD9A127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06343" y="4486180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xmlns="" id="{8711EDCE-6266-8042-B5C9-2E0AA13E329E}"/>
                </a:ext>
              </a:extLst>
            </p:cNvPr>
            <p:cNvSpPr txBox="1"/>
            <p:nvPr/>
          </p:nvSpPr>
          <p:spPr>
            <a:xfrm>
              <a:off x="2961721" y="2201352"/>
              <a:ext cx="80951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Екатеринбург</a:t>
              </a:r>
            </a:p>
          </p:txBody>
        </p:sp>
        <p:cxnSp>
          <p:nvCxnSpPr>
            <p:cNvPr id="259" name="Соединительная линия уступом 258">
              <a:extLst>
                <a:ext uri="{FF2B5EF4-FFF2-40B4-BE49-F238E27FC236}">
                  <a16:creationId xmlns:a16="http://schemas.microsoft.com/office/drawing/2014/main" xmlns="" id="{1685E060-B5D6-C044-9B39-A19A0971FE43}"/>
                </a:ext>
              </a:extLst>
            </p:cNvPr>
            <p:cNvCxnSpPr>
              <a:cxnSpLocks/>
              <a:stCxn id="257" idx="0"/>
            </p:cNvCxnSpPr>
            <p:nvPr/>
          </p:nvCxnSpPr>
          <p:spPr>
            <a:xfrm rot="16200000" flipV="1">
              <a:off x="2320984" y="2964821"/>
              <a:ext cx="2080945" cy="961774"/>
            </a:xfrm>
            <a:prstGeom prst="bentConnector3">
              <a:avLst>
                <a:gd name="adj1" fmla="val 99991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5" name="Группа 262">
            <a:extLst>
              <a:ext uri="{FF2B5EF4-FFF2-40B4-BE49-F238E27FC236}">
                <a16:creationId xmlns:a16="http://schemas.microsoft.com/office/drawing/2014/main" xmlns="" id="{DFC94816-F23A-DD41-BAF4-B5601E971D62}"/>
              </a:ext>
            </a:extLst>
          </p:cNvPr>
          <p:cNvGrpSpPr/>
          <p:nvPr/>
        </p:nvGrpSpPr>
        <p:grpSpPr>
          <a:xfrm>
            <a:off x="2855856" y="2327782"/>
            <a:ext cx="578269" cy="1333139"/>
            <a:chOff x="2880569" y="2605436"/>
            <a:chExt cx="578269" cy="1333139"/>
          </a:xfrm>
        </p:grpSpPr>
        <p:sp>
          <p:nvSpPr>
            <p:cNvPr id="264" name="Овал 263">
              <a:extLst>
                <a:ext uri="{FF2B5EF4-FFF2-40B4-BE49-F238E27FC236}">
                  <a16:creationId xmlns:a16="http://schemas.microsoft.com/office/drawing/2014/main" xmlns="" id="{0DA87290-6735-8846-94F1-DE15C3D8CC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6838" y="3866575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xmlns="" id="{F3D575CA-A283-1146-A8F0-3747CF9BC98C}"/>
                </a:ext>
              </a:extLst>
            </p:cNvPr>
            <p:cNvSpPr txBox="1"/>
            <p:nvPr/>
          </p:nvSpPr>
          <p:spPr>
            <a:xfrm>
              <a:off x="2986774" y="2605436"/>
              <a:ext cx="35747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Киров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66" name="Соединительная линия уступом 265">
              <a:extLst>
                <a:ext uri="{FF2B5EF4-FFF2-40B4-BE49-F238E27FC236}">
                  <a16:creationId xmlns:a16="http://schemas.microsoft.com/office/drawing/2014/main" xmlns="" id="{25CED3EF-D981-3B48-9AC6-DCC4B12F2F6E}"/>
                </a:ext>
              </a:extLst>
            </p:cNvPr>
            <p:cNvCxnSpPr>
              <a:cxnSpLocks/>
              <a:stCxn id="264" idx="0"/>
            </p:cNvCxnSpPr>
            <p:nvPr/>
          </p:nvCxnSpPr>
          <p:spPr>
            <a:xfrm rot="16200000" flipV="1">
              <a:off x="2615887" y="3059623"/>
              <a:ext cx="1071634" cy="542269"/>
            </a:xfrm>
            <a:prstGeom prst="bentConnector3">
              <a:avLst>
                <a:gd name="adj1" fmla="val 100064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Группа 270">
            <a:extLst>
              <a:ext uri="{FF2B5EF4-FFF2-40B4-BE49-F238E27FC236}">
                <a16:creationId xmlns:a16="http://schemas.microsoft.com/office/drawing/2014/main" xmlns="" id="{9FF87AE4-A4C2-2849-B75B-CA4E47F95EB5}"/>
              </a:ext>
            </a:extLst>
          </p:cNvPr>
          <p:cNvGrpSpPr/>
          <p:nvPr/>
        </p:nvGrpSpPr>
        <p:grpSpPr>
          <a:xfrm>
            <a:off x="4002557" y="4048310"/>
            <a:ext cx="432815" cy="265822"/>
            <a:chOff x="4089053" y="4363034"/>
            <a:chExt cx="432815" cy="265822"/>
          </a:xfrm>
        </p:grpSpPr>
        <p:sp>
          <p:nvSpPr>
            <p:cNvPr id="272" name="Овал 271">
              <a:extLst>
                <a:ext uri="{FF2B5EF4-FFF2-40B4-BE49-F238E27FC236}">
                  <a16:creationId xmlns:a16="http://schemas.microsoft.com/office/drawing/2014/main" xmlns="" id="{65151277-4839-A348-88E1-64BEE4D891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89053" y="4363034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xmlns="" id="{7163957D-4189-1F40-8212-4EAF7FC3EA97}"/>
                </a:ext>
              </a:extLst>
            </p:cNvPr>
            <p:cNvSpPr txBox="1"/>
            <p:nvPr/>
          </p:nvSpPr>
          <p:spPr>
            <a:xfrm>
              <a:off x="4202676" y="4448560"/>
              <a:ext cx="2420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Реж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74" name="Соединительная линия уступом 273">
              <a:extLst>
                <a:ext uri="{FF2B5EF4-FFF2-40B4-BE49-F238E27FC236}">
                  <a16:creationId xmlns:a16="http://schemas.microsoft.com/office/drawing/2014/main" xmlns="" id="{2FACF537-4E1E-0B40-9B81-13FADF873904}"/>
                </a:ext>
              </a:extLst>
            </p:cNvPr>
            <p:cNvCxnSpPr>
              <a:stCxn id="272" idx="4"/>
            </p:cNvCxnSpPr>
            <p:nvPr/>
          </p:nvCxnSpPr>
          <p:spPr>
            <a:xfrm rot="16200000" flipH="1">
              <a:off x="4226549" y="4333538"/>
              <a:ext cx="193823" cy="396814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Группа 278">
            <a:extLst>
              <a:ext uri="{FF2B5EF4-FFF2-40B4-BE49-F238E27FC236}">
                <a16:creationId xmlns:a16="http://schemas.microsoft.com/office/drawing/2014/main" xmlns="" id="{5B2CB27B-48F0-7B40-839B-49D9EA5A2FF4}"/>
              </a:ext>
            </a:extLst>
          </p:cNvPr>
          <p:cNvGrpSpPr/>
          <p:nvPr/>
        </p:nvGrpSpPr>
        <p:grpSpPr>
          <a:xfrm>
            <a:off x="4064343" y="4358729"/>
            <a:ext cx="811858" cy="512632"/>
            <a:chOff x="4194087" y="4698164"/>
            <a:chExt cx="811858" cy="512632"/>
          </a:xfrm>
        </p:grpSpPr>
        <p:sp>
          <p:nvSpPr>
            <p:cNvPr id="280" name="Овал 279">
              <a:extLst>
                <a:ext uri="{FF2B5EF4-FFF2-40B4-BE49-F238E27FC236}">
                  <a16:creationId xmlns:a16="http://schemas.microsoft.com/office/drawing/2014/main" xmlns="" id="{AE8C50D2-941F-B340-A4C2-4C91885789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94087" y="4698164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xmlns="" id="{8D0085AF-EC72-B44E-8BC3-43E2652C8E81}"/>
                </a:ext>
              </a:extLst>
            </p:cNvPr>
            <p:cNvSpPr txBox="1"/>
            <p:nvPr/>
          </p:nvSpPr>
          <p:spPr>
            <a:xfrm>
              <a:off x="4328740" y="5025210"/>
              <a:ext cx="60112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Сухой Лог</a:t>
              </a:r>
            </a:p>
          </p:txBody>
        </p:sp>
        <p:cxnSp>
          <p:nvCxnSpPr>
            <p:cNvPr id="282" name="Соединительная линия уступом 281">
              <a:extLst>
                <a:ext uri="{FF2B5EF4-FFF2-40B4-BE49-F238E27FC236}">
                  <a16:creationId xmlns:a16="http://schemas.microsoft.com/office/drawing/2014/main" xmlns="" id="{63917701-8367-E64D-94B2-753E5610CD8A}"/>
                </a:ext>
              </a:extLst>
            </p:cNvPr>
            <p:cNvCxnSpPr>
              <a:cxnSpLocks/>
              <a:stCxn id="280" idx="4"/>
            </p:cNvCxnSpPr>
            <p:nvPr/>
          </p:nvCxnSpPr>
          <p:spPr>
            <a:xfrm rot="16200000" flipH="1">
              <a:off x="4397700" y="4602551"/>
              <a:ext cx="440632" cy="775858"/>
            </a:xfrm>
            <a:prstGeom prst="bentConnector2">
              <a:avLst/>
            </a:prstGeom>
            <a:ln w="9525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8" name="Группа 282">
            <a:extLst>
              <a:ext uri="{FF2B5EF4-FFF2-40B4-BE49-F238E27FC236}">
                <a16:creationId xmlns:a16="http://schemas.microsoft.com/office/drawing/2014/main" xmlns="" id="{5B7763A8-266D-9043-AE4A-471CF1CA6D68}"/>
              </a:ext>
            </a:extLst>
          </p:cNvPr>
          <p:cNvGrpSpPr/>
          <p:nvPr/>
        </p:nvGrpSpPr>
        <p:grpSpPr>
          <a:xfrm>
            <a:off x="3996188" y="4489983"/>
            <a:ext cx="731154" cy="745026"/>
            <a:chOff x="4138290" y="4817064"/>
            <a:chExt cx="731154" cy="745026"/>
          </a:xfrm>
        </p:grpSpPr>
        <p:sp>
          <p:nvSpPr>
            <p:cNvPr id="284" name="Овал 283">
              <a:extLst>
                <a:ext uri="{FF2B5EF4-FFF2-40B4-BE49-F238E27FC236}">
                  <a16:creationId xmlns:a16="http://schemas.microsoft.com/office/drawing/2014/main" xmlns="" id="{E94A85EC-001B-6848-9991-AD87468B86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8290" y="4817064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xmlns="" id="{B8BAEB10-A429-4944-81C3-C830C90BFF6E}"/>
                </a:ext>
              </a:extLst>
            </p:cNvPr>
            <p:cNvSpPr txBox="1"/>
            <p:nvPr/>
          </p:nvSpPr>
          <p:spPr>
            <a:xfrm>
              <a:off x="4245128" y="5364722"/>
              <a:ext cx="59631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Шадринск</a:t>
              </a:r>
            </a:p>
          </p:txBody>
        </p:sp>
        <p:cxnSp>
          <p:nvCxnSpPr>
            <p:cNvPr id="286" name="Соединительная линия уступом 285">
              <a:extLst>
                <a:ext uri="{FF2B5EF4-FFF2-40B4-BE49-F238E27FC236}">
                  <a16:creationId xmlns:a16="http://schemas.microsoft.com/office/drawing/2014/main" xmlns="" id="{E34BC977-82CC-E14E-8513-27A5992F9ACA}"/>
                </a:ext>
              </a:extLst>
            </p:cNvPr>
            <p:cNvCxnSpPr>
              <a:cxnSpLocks/>
              <a:stCxn id="284" idx="4"/>
            </p:cNvCxnSpPr>
            <p:nvPr/>
          </p:nvCxnSpPr>
          <p:spPr>
            <a:xfrm rot="16200000" flipH="1">
              <a:off x="4185354" y="4877999"/>
              <a:ext cx="673026" cy="695155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9" name="Группа 290">
            <a:extLst>
              <a:ext uri="{FF2B5EF4-FFF2-40B4-BE49-F238E27FC236}">
                <a16:creationId xmlns:a16="http://schemas.microsoft.com/office/drawing/2014/main" xmlns="" id="{516F45B5-CB20-B64E-AD1F-476E2B10FDCE}"/>
              </a:ext>
            </a:extLst>
          </p:cNvPr>
          <p:cNvGrpSpPr/>
          <p:nvPr/>
        </p:nvGrpSpPr>
        <p:grpSpPr>
          <a:xfrm>
            <a:off x="3777813" y="4340391"/>
            <a:ext cx="789568" cy="1269482"/>
            <a:chOff x="3907557" y="4630403"/>
            <a:chExt cx="789568" cy="1269482"/>
          </a:xfrm>
        </p:grpSpPr>
        <p:sp>
          <p:nvSpPr>
            <p:cNvPr id="292" name="Овал 291">
              <a:extLst>
                <a:ext uri="{FF2B5EF4-FFF2-40B4-BE49-F238E27FC236}">
                  <a16:creationId xmlns:a16="http://schemas.microsoft.com/office/drawing/2014/main" xmlns="" id="{950B705B-CCD4-0445-B1C7-466D461ACE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07557" y="4630403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xmlns="" id="{343F90C5-C94E-9E4E-85DE-73B7ECB73881}"/>
                </a:ext>
              </a:extLst>
            </p:cNvPr>
            <p:cNvSpPr txBox="1"/>
            <p:nvPr/>
          </p:nvSpPr>
          <p:spPr>
            <a:xfrm>
              <a:off x="4010544" y="5716018"/>
              <a:ext cx="63639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Челябинск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94" name="Соединительная линия уступом 293">
              <a:extLst>
                <a:ext uri="{FF2B5EF4-FFF2-40B4-BE49-F238E27FC236}">
                  <a16:creationId xmlns:a16="http://schemas.microsoft.com/office/drawing/2014/main" xmlns="" id="{D15E608A-BF74-8B41-AEC7-F979F688AFBE}"/>
                </a:ext>
              </a:extLst>
            </p:cNvPr>
            <p:cNvCxnSpPr>
              <a:cxnSpLocks/>
              <a:stCxn id="292" idx="4"/>
            </p:cNvCxnSpPr>
            <p:nvPr/>
          </p:nvCxnSpPr>
          <p:spPr>
            <a:xfrm rot="16200000" flipH="1">
              <a:off x="3721600" y="4924360"/>
              <a:ext cx="1197482" cy="753568"/>
            </a:xfrm>
            <a:prstGeom prst="bentConnector3">
              <a:avLst>
                <a:gd name="adj1" fmla="val 99680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1" name="Группа 294">
            <a:extLst>
              <a:ext uri="{FF2B5EF4-FFF2-40B4-BE49-F238E27FC236}">
                <a16:creationId xmlns:a16="http://schemas.microsoft.com/office/drawing/2014/main" xmlns="" id="{395BCC89-5EC7-F244-BEF0-C5C4B4E33E7B}"/>
              </a:ext>
            </a:extLst>
          </p:cNvPr>
          <p:cNvGrpSpPr/>
          <p:nvPr/>
        </p:nvGrpSpPr>
        <p:grpSpPr>
          <a:xfrm>
            <a:off x="3611673" y="4458002"/>
            <a:ext cx="625887" cy="1465120"/>
            <a:chOff x="3735239" y="4735656"/>
            <a:chExt cx="625887" cy="1465120"/>
          </a:xfrm>
        </p:grpSpPr>
        <p:sp>
          <p:nvSpPr>
            <p:cNvPr id="296" name="Овал 295">
              <a:extLst>
                <a:ext uri="{FF2B5EF4-FFF2-40B4-BE49-F238E27FC236}">
                  <a16:creationId xmlns:a16="http://schemas.microsoft.com/office/drawing/2014/main" xmlns="" id="{5F34A031-3874-764C-9409-F409EC4E69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239" y="4735656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xmlns="" id="{4FE408DA-58B8-D74E-BE19-4F58EAAFAD42}"/>
                </a:ext>
              </a:extLst>
            </p:cNvPr>
            <p:cNvSpPr txBox="1"/>
            <p:nvPr/>
          </p:nvSpPr>
          <p:spPr>
            <a:xfrm>
              <a:off x="3868217" y="6016900"/>
              <a:ext cx="38792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Учалы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98" name="Соединительная линия уступом 297">
              <a:extLst>
                <a:ext uri="{FF2B5EF4-FFF2-40B4-BE49-F238E27FC236}">
                  <a16:creationId xmlns:a16="http://schemas.microsoft.com/office/drawing/2014/main" xmlns="" id="{4CF706A5-F570-4C47-822E-F0E6044DF28A}"/>
                </a:ext>
              </a:extLst>
            </p:cNvPr>
            <p:cNvCxnSpPr>
              <a:cxnSpLocks/>
              <a:stCxn id="296" idx="4"/>
            </p:cNvCxnSpPr>
            <p:nvPr/>
          </p:nvCxnSpPr>
          <p:spPr>
            <a:xfrm rot="16200000" flipH="1">
              <a:off x="3369622" y="5209273"/>
              <a:ext cx="1393121" cy="589886"/>
            </a:xfrm>
            <a:prstGeom prst="bentConnector3">
              <a:avLst>
                <a:gd name="adj1" fmla="val 100216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2" name="Группа 298">
            <a:extLst>
              <a:ext uri="{FF2B5EF4-FFF2-40B4-BE49-F238E27FC236}">
                <a16:creationId xmlns:a16="http://schemas.microsoft.com/office/drawing/2014/main" xmlns="" id="{B8557C14-0F04-124B-AC04-ACFC1C87DAB7}"/>
              </a:ext>
            </a:extLst>
          </p:cNvPr>
          <p:cNvGrpSpPr/>
          <p:nvPr/>
        </p:nvGrpSpPr>
        <p:grpSpPr>
          <a:xfrm>
            <a:off x="2420854" y="4633003"/>
            <a:ext cx="746228" cy="352342"/>
            <a:chOff x="2655631" y="4861230"/>
            <a:chExt cx="746228" cy="352342"/>
          </a:xfrm>
        </p:grpSpPr>
        <p:sp>
          <p:nvSpPr>
            <p:cNvPr id="300" name="Овал 299">
              <a:extLst>
                <a:ext uri="{FF2B5EF4-FFF2-40B4-BE49-F238E27FC236}">
                  <a16:creationId xmlns:a16="http://schemas.microsoft.com/office/drawing/2014/main" xmlns="" id="{8601A2E7-9492-9642-9C09-312050CF30D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29859" y="4861230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xmlns="" id="{76572597-D9E2-294E-BBC0-484EA7E3BDBA}"/>
                </a:ext>
              </a:extLst>
            </p:cNvPr>
            <p:cNvSpPr txBox="1"/>
            <p:nvPr/>
          </p:nvSpPr>
          <p:spPr>
            <a:xfrm>
              <a:off x="2731278" y="5031003"/>
              <a:ext cx="5658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Оренбург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02" name="Соединительная линия уступом 301">
              <a:extLst>
                <a:ext uri="{FF2B5EF4-FFF2-40B4-BE49-F238E27FC236}">
                  <a16:creationId xmlns:a16="http://schemas.microsoft.com/office/drawing/2014/main" xmlns="" id="{BCE102B0-4C3F-9F4A-AD67-DB7473CDB2CA}"/>
                </a:ext>
              </a:extLst>
            </p:cNvPr>
            <p:cNvCxnSpPr>
              <a:cxnSpLocks/>
              <a:stCxn id="300" idx="4"/>
            </p:cNvCxnSpPr>
            <p:nvPr/>
          </p:nvCxnSpPr>
          <p:spPr>
            <a:xfrm rot="5400000">
              <a:off x="2870574" y="4718287"/>
              <a:ext cx="280342" cy="710228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Группа 306">
            <a:extLst>
              <a:ext uri="{FF2B5EF4-FFF2-40B4-BE49-F238E27FC236}">
                <a16:creationId xmlns:a16="http://schemas.microsoft.com/office/drawing/2014/main" xmlns="" id="{7D69C5E5-A770-E344-ACB1-F73E29070462}"/>
              </a:ext>
            </a:extLst>
          </p:cNvPr>
          <p:cNvGrpSpPr/>
          <p:nvPr/>
        </p:nvGrpSpPr>
        <p:grpSpPr>
          <a:xfrm>
            <a:off x="2508182" y="4751275"/>
            <a:ext cx="822120" cy="562958"/>
            <a:chOff x="2631748" y="4991858"/>
            <a:chExt cx="822120" cy="562958"/>
          </a:xfrm>
        </p:grpSpPr>
        <p:sp>
          <p:nvSpPr>
            <p:cNvPr id="308" name="Овал 307">
              <a:extLst>
                <a:ext uri="{FF2B5EF4-FFF2-40B4-BE49-F238E27FC236}">
                  <a16:creationId xmlns:a16="http://schemas.microsoft.com/office/drawing/2014/main" xmlns="" id="{4BE5AAAA-6E28-4A4E-9EE2-E1FDEB5227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81868" y="4991858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xmlns="" id="{23E0059E-2030-4442-A298-135827B4E607}"/>
                </a:ext>
              </a:extLst>
            </p:cNvPr>
            <p:cNvSpPr txBox="1"/>
            <p:nvPr/>
          </p:nvSpPr>
          <p:spPr>
            <a:xfrm>
              <a:off x="2669205" y="5369769"/>
              <a:ext cx="7021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Медногорск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10" name="Соединительная линия уступом 309">
              <a:extLst>
                <a:ext uri="{FF2B5EF4-FFF2-40B4-BE49-F238E27FC236}">
                  <a16:creationId xmlns:a16="http://schemas.microsoft.com/office/drawing/2014/main" xmlns="" id="{F034AEBD-61DF-444B-981B-1160E1B5AD02}"/>
                </a:ext>
              </a:extLst>
            </p:cNvPr>
            <p:cNvCxnSpPr>
              <a:cxnSpLocks/>
              <a:stCxn id="308" idx="4"/>
            </p:cNvCxnSpPr>
            <p:nvPr/>
          </p:nvCxnSpPr>
          <p:spPr>
            <a:xfrm rot="5400000">
              <a:off x="2779329" y="4916277"/>
              <a:ext cx="490958" cy="786120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4" name="Группа 314">
            <a:extLst>
              <a:ext uri="{FF2B5EF4-FFF2-40B4-BE49-F238E27FC236}">
                <a16:creationId xmlns:a16="http://schemas.microsoft.com/office/drawing/2014/main" xmlns="" id="{D20B8EF8-DDAE-5248-B050-800ED2DDFC2A}"/>
              </a:ext>
            </a:extLst>
          </p:cNvPr>
          <p:cNvGrpSpPr/>
          <p:nvPr/>
        </p:nvGrpSpPr>
        <p:grpSpPr>
          <a:xfrm>
            <a:off x="2983107" y="4839492"/>
            <a:ext cx="470129" cy="864942"/>
            <a:chOff x="3131386" y="5024470"/>
            <a:chExt cx="470129" cy="864942"/>
          </a:xfrm>
        </p:grpSpPr>
        <p:sp>
          <p:nvSpPr>
            <p:cNvPr id="316" name="Овал 315">
              <a:extLst>
                <a:ext uri="{FF2B5EF4-FFF2-40B4-BE49-F238E27FC236}">
                  <a16:creationId xmlns:a16="http://schemas.microsoft.com/office/drawing/2014/main" xmlns="" id="{BD57C078-6212-674F-96D3-9351368174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9515" y="5024470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xmlns="" id="{C3FC2A73-198A-3A47-987A-3786BD37F5DB}"/>
                </a:ext>
              </a:extLst>
            </p:cNvPr>
            <p:cNvSpPr txBox="1"/>
            <p:nvPr/>
          </p:nvSpPr>
          <p:spPr>
            <a:xfrm>
              <a:off x="3249345" y="5710747"/>
              <a:ext cx="21159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Гай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18" name="Соединительная линия уступом 317">
              <a:extLst>
                <a:ext uri="{FF2B5EF4-FFF2-40B4-BE49-F238E27FC236}">
                  <a16:creationId xmlns:a16="http://schemas.microsoft.com/office/drawing/2014/main" xmlns="" id="{7B123414-A7BF-4B4C-A571-5E4BD40ACC5C}"/>
                </a:ext>
              </a:extLst>
            </p:cNvPr>
            <p:cNvCxnSpPr>
              <a:cxnSpLocks/>
              <a:stCxn id="316" idx="4"/>
            </p:cNvCxnSpPr>
            <p:nvPr/>
          </p:nvCxnSpPr>
          <p:spPr>
            <a:xfrm rot="5400000">
              <a:off x="2951979" y="5275876"/>
              <a:ext cx="792943" cy="434130"/>
            </a:xfrm>
            <a:prstGeom prst="bentConnector3">
              <a:avLst>
                <a:gd name="adj1" fmla="val 100017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5" name="Группа 322">
            <a:extLst>
              <a:ext uri="{FF2B5EF4-FFF2-40B4-BE49-F238E27FC236}">
                <a16:creationId xmlns:a16="http://schemas.microsoft.com/office/drawing/2014/main" xmlns="" id="{71EE1879-F111-A84A-B07B-7E0625DC8F43}"/>
              </a:ext>
            </a:extLst>
          </p:cNvPr>
          <p:cNvGrpSpPr/>
          <p:nvPr/>
        </p:nvGrpSpPr>
        <p:grpSpPr>
          <a:xfrm>
            <a:off x="2926583" y="4576959"/>
            <a:ext cx="597583" cy="1346165"/>
            <a:chOff x="3111932" y="4854613"/>
            <a:chExt cx="597583" cy="1346165"/>
          </a:xfrm>
        </p:grpSpPr>
        <p:sp>
          <p:nvSpPr>
            <p:cNvPr id="324" name="Овал 323">
              <a:extLst>
                <a:ext uri="{FF2B5EF4-FFF2-40B4-BE49-F238E27FC236}">
                  <a16:creationId xmlns:a16="http://schemas.microsoft.com/office/drawing/2014/main" xmlns="" id="{4CE8CE91-1C99-9344-AF3E-070E64F66A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37515" y="4854613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xmlns="" id="{8E630F63-D193-5145-82AE-2E715E8C1371}"/>
                </a:ext>
              </a:extLst>
            </p:cNvPr>
            <p:cNvSpPr txBox="1"/>
            <p:nvPr/>
          </p:nvSpPr>
          <p:spPr>
            <a:xfrm>
              <a:off x="3204549" y="6014035"/>
              <a:ext cx="3815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Сибай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26" name="Соединительная линия уступом 325">
              <a:extLst>
                <a:ext uri="{FF2B5EF4-FFF2-40B4-BE49-F238E27FC236}">
                  <a16:creationId xmlns:a16="http://schemas.microsoft.com/office/drawing/2014/main" xmlns="" id="{5C1D170F-BA17-A54C-BE0D-47985C363797}"/>
                </a:ext>
              </a:extLst>
            </p:cNvPr>
            <p:cNvCxnSpPr>
              <a:cxnSpLocks/>
              <a:stCxn id="324" idx="4"/>
            </p:cNvCxnSpPr>
            <p:nvPr/>
          </p:nvCxnSpPr>
          <p:spPr>
            <a:xfrm rot="5400000">
              <a:off x="2755642" y="5282904"/>
              <a:ext cx="1274164" cy="561583"/>
            </a:xfrm>
            <a:prstGeom prst="bentConnector3">
              <a:avLst>
                <a:gd name="adj1" fmla="val 100149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6" name="Группа 330">
            <a:extLst>
              <a:ext uri="{FF2B5EF4-FFF2-40B4-BE49-F238E27FC236}">
                <a16:creationId xmlns:a16="http://schemas.microsoft.com/office/drawing/2014/main" xmlns="" id="{6EA3F75F-6047-B442-8922-389515A7E19E}"/>
              </a:ext>
            </a:extLst>
          </p:cNvPr>
          <p:cNvGrpSpPr/>
          <p:nvPr/>
        </p:nvGrpSpPr>
        <p:grpSpPr>
          <a:xfrm>
            <a:off x="5547497" y="5082181"/>
            <a:ext cx="771313" cy="215510"/>
            <a:chOff x="5763880" y="5346581"/>
            <a:chExt cx="771313" cy="215510"/>
          </a:xfrm>
        </p:grpSpPr>
        <p:sp>
          <p:nvSpPr>
            <p:cNvPr id="332" name="Овал 331">
              <a:extLst>
                <a:ext uri="{FF2B5EF4-FFF2-40B4-BE49-F238E27FC236}">
                  <a16:creationId xmlns:a16="http://schemas.microsoft.com/office/drawing/2014/main" xmlns="" id="{4D96F5AB-A250-CC48-94C3-C2258C9A63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63880" y="5346581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xmlns="" id="{B7F6A327-F28F-6A49-9F24-28CA692E02D7}"/>
                </a:ext>
              </a:extLst>
            </p:cNvPr>
            <p:cNvSpPr txBox="1"/>
            <p:nvPr/>
          </p:nvSpPr>
          <p:spPr>
            <a:xfrm>
              <a:off x="5894404" y="5364722"/>
              <a:ext cx="58509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Кемерово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34" name="Соединительная линия уступом 333">
              <a:extLst>
                <a:ext uri="{FF2B5EF4-FFF2-40B4-BE49-F238E27FC236}">
                  <a16:creationId xmlns:a16="http://schemas.microsoft.com/office/drawing/2014/main" xmlns="" id="{15E863C9-7A95-3849-901E-0787D5307359}"/>
                </a:ext>
              </a:extLst>
            </p:cNvPr>
            <p:cNvCxnSpPr>
              <a:cxnSpLocks/>
              <a:stCxn id="332" idx="4"/>
            </p:cNvCxnSpPr>
            <p:nvPr/>
          </p:nvCxnSpPr>
          <p:spPr>
            <a:xfrm rot="16200000" flipH="1">
              <a:off x="6095781" y="5122679"/>
              <a:ext cx="143511" cy="735313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7" name="Группа 342">
            <a:extLst>
              <a:ext uri="{FF2B5EF4-FFF2-40B4-BE49-F238E27FC236}">
                <a16:creationId xmlns:a16="http://schemas.microsoft.com/office/drawing/2014/main" xmlns="" id="{EC198A8F-9E66-AA4B-BB26-9E6A814EF738}"/>
              </a:ext>
            </a:extLst>
          </p:cNvPr>
          <p:cNvGrpSpPr/>
          <p:nvPr/>
        </p:nvGrpSpPr>
        <p:grpSpPr>
          <a:xfrm>
            <a:off x="5478793" y="4883546"/>
            <a:ext cx="571348" cy="710060"/>
            <a:chOff x="5646314" y="5189827"/>
            <a:chExt cx="571348" cy="710060"/>
          </a:xfrm>
        </p:grpSpPr>
        <p:sp>
          <p:nvSpPr>
            <p:cNvPr id="344" name="Овал 343">
              <a:extLst>
                <a:ext uri="{FF2B5EF4-FFF2-40B4-BE49-F238E27FC236}">
                  <a16:creationId xmlns:a16="http://schemas.microsoft.com/office/drawing/2014/main" xmlns="" id="{63741F57-E21A-524F-AAEA-A801C2F87E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46314" y="5189827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45" name="TextBox 344">
              <a:extLst>
                <a:ext uri="{FF2B5EF4-FFF2-40B4-BE49-F238E27FC236}">
                  <a16:creationId xmlns:a16="http://schemas.microsoft.com/office/drawing/2014/main" xmlns="" id="{3469D3C7-11AA-2947-A185-C069AE5A827C}"/>
                </a:ext>
              </a:extLst>
            </p:cNvPr>
            <p:cNvSpPr txBox="1"/>
            <p:nvPr/>
          </p:nvSpPr>
          <p:spPr>
            <a:xfrm>
              <a:off x="5757362" y="5718558"/>
              <a:ext cx="35747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Томск</a:t>
              </a:r>
            </a:p>
          </p:txBody>
        </p:sp>
        <p:cxnSp>
          <p:nvCxnSpPr>
            <p:cNvPr id="346" name="Соединительная линия уступом 345">
              <a:extLst>
                <a:ext uri="{FF2B5EF4-FFF2-40B4-BE49-F238E27FC236}">
                  <a16:creationId xmlns:a16="http://schemas.microsoft.com/office/drawing/2014/main" xmlns="" id="{076F28EA-482C-CA47-B8BD-8E543ED76830}"/>
                </a:ext>
              </a:extLst>
            </p:cNvPr>
            <p:cNvCxnSpPr>
              <a:cxnSpLocks/>
              <a:stCxn id="344" idx="4"/>
            </p:cNvCxnSpPr>
            <p:nvPr/>
          </p:nvCxnSpPr>
          <p:spPr>
            <a:xfrm rot="16200000" flipH="1">
              <a:off x="5630958" y="5313183"/>
              <a:ext cx="638060" cy="535348"/>
            </a:xfrm>
            <a:prstGeom prst="bentConnector3">
              <a:avLst>
                <a:gd name="adj1" fmla="val 100658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8" name="Группа 350">
            <a:extLst>
              <a:ext uri="{FF2B5EF4-FFF2-40B4-BE49-F238E27FC236}">
                <a16:creationId xmlns:a16="http://schemas.microsoft.com/office/drawing/2014/main" xmlns="" id="{C95C6A90-C15B-E746-A3E4-FACE307A51D4}"/>
              </a:ext>
            </a:extLst>
          </p:cNvPr>
          <p:cNvGrpSpPr/>
          <p:nvPr/>
        </p:nvGrpSpPr>
        <p:grpSpPr>
          <a:xfrm>
            <a:off x="5064160" y="5465087"/>
            <a:ext cx="695375" cy="462678"/>
            <a:chOff x="5238662" y="5638747"/>
            <a:chExt cx="695375" cy="462678"/>
          </a:xfrm>
        </p:grpSpPr>
        <p:sp>
          <p:nvSpPr>
            <p:cNvPr id="352" name="Овал 351">
              <a:extLst>
                <a:ext uri="{FF2B5EF4-FFF2-40B4-BE49-F238E27FC236}">
                  <a16:creationId xmlns:a16="http://schemas.microsoft.com/office/drawing/2014/main" xmlns="" id="{9CF3695E-C836-B84F-A240-209BF204EB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38662" y="5638747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53" name="TextBox 352">
              <a:extLst>
                <a:ext uri="{FF2B5EF4-FFF2-40B4-BE49-F238E27FC236}">
                  <a16:creationId xmlns:a16="http://schemas.microsoft.com/office/drawing/2014/main" xmlns="" id="{03E37D68-9AB0-9F46-8E74-7CE9CE5761FB}"/>
                </a:ext>
              </a:extLst>
            </p:cNvPr>
            <p:cNvSpPr txBox="1"/>
            <p:nvPr/>
          </p:nvSpPr>
          <p:spPr>
            <a:xfrm>
              <a:off x="5332713" y="5920356"/>
              <a:ext cx="55624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Рубцовск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54" name="Соединительная линия уступом 353">
              <a:extLst>
                <a:ext uri="{FF2B5EF4-FFF2-40B4-BE49-F238E27FC236}">
                  <a16:creationId xmlns:a16="http://schemas.microsoft.com/office/drawing/2014/main" xmlns="" id="{4BBF9B79-F932-8544-849E-EB75360AC498}"/>
                </a:ext>
              </a:extLst>
            </p:cNvPr>
            <p:cNvCxnSpPr>
              <a:cxnSpLocks/>
              <a:stCxn id="352" idx="4"/>
            </p:cNvCxnSpPr>
            <p:nvPr/>
          </p:nvCxnSpPr>
          <p:spPr>
            <a:xfrm rot="16200000" flipH="1">
              <a:off x="5409010" y="5576398"/>
              <a:ext cx="390679" cy="659375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9" name="Группа 259">
            <a:extLst>
              <a:ext uri="{FF2B5EF4-FFF2-40B4-BE49-F238E27FC236}">
                <a16:creationId xmlns:a16="http://schemas.microsoft.com/office/drawing/2014/main" xmlns="" id="{595E96A1-A5C3-D445-B788-73EBE8D3BB08}"/>
              </a:ext>
            </a:extLst>
          </p:cNvPr>
          <p:cNvGrpSpPr/>
          <p:nvPr/>
        </p:nvGrpSpPr>
        <p:grpSpPr>
          <a:xfrm>
            <a:off x="4494698" y="3926368"/>
            <a:ext cx="678364" cy="456405"/>
            <a:chOff x="4596298" y="4208452"/>
            <a:chExt cx="678364" cy="456405"/>
          </a:xfrm>
        </p:grpSpPr>
        <p:sp>
          <p:nvSpPr>
            <p:cNvPr id="261" name="Овал 260">
              <a:extLst>
                <a:ext uri="{FF2B5EF4-FFF2-40B4-BE49-F238E27FC236}">
                  <a16:creationId xmlns:a16="http://schemas.microsoft.com/office/drawing/2014/main" xmlns="" id="{C63BD0F2-1E12-7146-AB28-D46D32D43F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96298" y="4592857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xmlns="" id="{F58435C5-6E75-9A49-BB78-FC91EF45084B}"/>
                </a:ext>
              </a:extLst>
            </p:cNvPr>
            <p:cNvSpPr txBox="1"/>
            <p:nvPr/>
          </p:nvSpPr>
          <p:spPr>
            <a:xfrm>
              <a:off x="4727337" y="4208452"/>
              <a:ext cx="47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Тюмень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87" name="Соединительная линия уступом 286">
              <a:extLst>
                <a:ext uri="{FF2B5EF4-FFF2-40B4-BE49-F238E27FC236}">
                  <a16:creationId xmlns:a16="http://schemas.microsoft.com/office/drawing/2014/main" xmlns="" id="{059892DC-FAEA-2F41-9B9D-B48FD0842CD5}"/>
                </a:ext>
              </a:extLst>
            </p:cNvPr>
            <p:cNvCxnSpPr>
              <a:cxnSpLocks/>
              <a:stCxn id="261" idx="4"/>
            </p:cNvCxnSpPr>
            <p:nvPr/>
          </p:nvCxnSpPr>
          <p:spPr>
            <a:xfrm rot="5400000" flipH="1" flipV="1">
              <a:off x="4811891" y="4202085"/>
              <a:ext cx="283178" cy="642365"/>
            </a:xfrm>
            <a:prstGeom prst="bentConnector4">
              <a:avLst>
                <a:gd name="adj1" fmla="val 11871"/>
                <a:gd name="adj2" fmla="val -1626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0" name="Группа 303">
            <a:extLst>
              <a:ext uri="{FF2B5EF4-FFF2-40B4-BE49-F238E27FC236}">
                <a16:creationId xmlns:a16="http://schemas.microsoft.com/office/drawing/2014/main" xmlns="" id="{63BE4396-CC32-A448-A4AA-B2CC4F119A5B}"/>
              </a:ext>
            </a:extLst>
          </p:cNvPr>
          <p:cNvGrpSpPr/>
          <p:nvPr/>
        </p:nvGrpSpPr>
        <p:grpSpPr>
          <a:xfrm>
            <a:off x="4198863" y="4344388"/>
            <a:ext cx="1294819" cy="263208"/>
            <a:chOff x="4596298" y="4592857"/>
            <a:chExt cx="1294819" cy="263208"/>
          </a:xfrm>
        </p:grpSpPr>
        <p:sp>
          <p:nvSpPr>
            <p:cNvPr id="305" name="Овал 304">
              <a:extLst>
                <a:ext uri="{FF2B5EF4-FFF2-40B4-BE49-F238E27FC236}">
                  <a16:creationId xmlns:a16="http://schemas.microsoft.com/office/drawing/2014/main" xmlns="" id="{6F7CB742-7DB8-6142-AEF3-AFD8AA3A61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96298" y="4592857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xmlns="" id="{0C09D81E-6C28-FF47-AF54-EBBD9FB17487}"/>
                </a:ext>
              </a:extLst>
            </p:cNvPr>
            <p:cNvSpPr txBox="1"/>
            <p:nvPr/>
          </p:nvSpPr>
          <p:spPr>
            <a:xfrm>
              <a:off x="4727337" y="4670976"/>
              <a:ext cx="116378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пос. им. Малышева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11" name="Соединительная линия уступом 310">
              <a:extLst>
                <a:ext uri="{FF2B5EF4-FFF2-40B4-BE49-F238E27FC236}">
                  <a16:creationId xmlns:a16="http://schemas.microsoft.com/office/drawing/2014/main" xmlns="" id="{66645D47-D25E-6E41-8E30-D6D92EDF76DE}"/>
                </a:ext>
              </a:extLst>
            </p:cNvPr>
            <p:cNvCxnSpPr>
              <a:cxnSpLocks/>
              <a:stCxn id="305" idx="4"/>
            </p:cNvCxnSpPr>
            <p:nvPr/>
          </p:nvCxnSpPr>
          <p:spPr>
            <a:xfrm rot="16200000" flipH="1">
              <a:off x="5050688" y="4246466"/>
              <a:ext cx="191208" cy="1027989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Группа 339">
            <a:extLst>
              <a:ext uri="{FF2B5EF4-FFF2-40B4-BE49-F238E27FC236}">
                <a16:creationId xmlns:a16="http://schemas.microsoft.com/office/drawing/2014/main" xmlns="" id="{C6730B88-405A-1248-A759-F5DBEEA7513C}"/>
              </a:ext>
            </a:extLst>
          </p:cNvPr>
          <p:cNvGrpSpPr/>
          <p:nvPr/>
        </p:nvGrpSpPr>
        <p:grpSpPr>
          <a:xfrm>
            <a:off x="3558982" y="4738707"/>
            <a:ext cx="641130" cy="1465120"/>
            <a:chOff x="3735239" y="4735656"/>
            <a:chExt cx="641130" cy="1465120"/>
          </a:xfrm>
        </p:grpSpPr>
        <p:sp>
          <p:nvSpPr>
            <p:cNvPr id="341" name="Овал 340">
              <a:extLst>
                <a:ext uri="{FF2B5EF4-FFF2-40B4-BE49-F238E27FC236}">
                  <a16:creationId xmlns:a16="http://schemas.microsoft.com/office/drawing/2014/main" xmlns="" id="{C09B5C73-657F-9A47-9248-039084C00E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35239" y="4735656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42" name="TextBox 341">
              <a:extLst>
                <a:ext uri="{FF2B5EF4-FFF2-40B4-BE49-F238E27FC236}">
                  <a16:creationId xmlns:a16="http://schemas.microsoft.com/office/drawing/2014/main" xmlns="" id="{79D29888-87D7-024E-8C86-544456D2F303}"/>
                </a:ext>
              </a:extLst>
            </p:cNvPr>
            <p:cNvSpPr txBox="1"/>
            <p:nvPr/>
          </p:nvSpPr>
          <p:spPr>
            <a:xfrm>
              <a:off x="3868217" y="6016900"/>
              <a:ext cx="5081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Бурибай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47" name="Соединительная линия уступом 346">
              <a:extLst>
                <a:ext uri="{FF2B5EF4-FFF2-40B4-BE49-F238E27FC236}">
                  <a16:creationId xmlns:a16="http://schemas.microsoft.com/office/drawing/2014/main" xmlns="" id="{1269E87E-FF8A-834B-B25C-0FB002BED76D}"/>
                </a:ext>
              </a:extLst>
            </p:cNvPr>
            <p:cNvCxnSpPr>
              <a:cxnSpLocks/>
              <a:stCxn id="341" idx="4"/>
            </p:cNvCxnSpPr>
            <p:nvPr/>
          </p:nvCxnSpPr>
          <p:spPr>
            <a:xfrm rot="16200000" flipH="1">
              <a:off x="3369622" y="5209273"/>
              <a:ext cx="1393121" cy="589886"/>
            </a:xfrm>
            <a:prstGeom prst="bentConnector3">
              <a:avLst>
                <a:gd name="adj1" fmla="val 100216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2" name="Группа 347">
            <a:extLst>
              <a:ext uri="{FF2B5EF4-FFF2-40B4-BE49-F238E27FC236}">
                <a16:creationId xmlns:a16="http://schemas.microsoft.com/office/drawing/2014/main" xmlns="" id="{D8992567-C70C-6243-9A24-7E4A9BB7CD57}"/>
              </a:ext>
            </a:extLst>
          </p:cNvPr>
          <p:cNvGrpSpPr/>
          <p:nvPr/>
        </p:nvGrpSpPr>
        <p:grpSpPr>
          <a:xfrm>
            <a:off x="2358335" y="4857664"/>
            <a:ext cx="1231484" cy="1346166"/>
            <a:chOff x="2478031" y="4854613"/>
            <a:chExt cx="1231484" cy="1346166"/>
          </a:xfrm>
        </p:grpSpPr>
        <p:sp>
          <p:nvSpPr>
            <p:cNvPr id="349" name="Овал 348">
              <a:extLst>
                <a:ext uri="{FF2B5EF4-FFF2-40B4-BE49-F238E27FC236}">
                  <a16:creationId xmlns:a16="http://schemas.microsoft.com/office/drawing/2014/main" xmlns="" id="{A95D1BDA-E13E-B545-9815-12529C1DD9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37515" y="4854613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50" name="TextBox 349">
              <a:extLst>
                <a:ext uri="{FF2B5EF4-FFF2-40B4-BE49-F238E27FC236}">
                  <a16:creationId xmlns:a16="http://schemas.microsoft.com/office/drawing/2014/main" xmlns="" id="{3311BDF7-1319-A945-B7FC-14658DA581F6}"/>
                </a:ext>
              </a:extLst>
            </p:cNvPr>
            <p:cNvSpPr txBox="1"/>
            <p:nvPr/>
          </p:nvSpPr>
          <p:spPr>
            <a:xfrm>
              <a:off x="2556139" y="6014035"/>
              <a:ext cx="105157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>
                  <a:solidFill>
                    <a:schemeClr val="accent1">
                      <a:lumMod val="75000"/>
                    </a:schemeClr>
                  </a:solidFill>
                </a:rPr>
                <a:t>Петропавловский</a:t>
              </a:r>
              <a:endParaRPr lang="ru-RU" sz="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55" name="Соединительная линия уступом 354">
              <a:extLst>
                <a:ext uri="{FF2B5EF4-FFF2-40B4-BE49-F238E27FC236}">
                  <a16:creationId xmlns:a16="http://schemas.microsoft.com/office/drawing/2014/main" xmlns="" id="{0D1A1BBA-C1FD-C74F-B989-DDE918B7FB28}"/>
                </a:ext>
              </a:extLst>
            </p:cNvPr>
            <p:cNvCxnSpPr>
              <a:cxnSpLocks/>
              <a:stCxn id="349" idx="4"/>
            </p:cNvCxnSpPr>
            <p:nvPr/>
          </p:nvCxnSpPr>
          <p:spPr>
            <a:xfrm rot="5400000">
              <a:off x="2438690" y="4965954"/>
              <a:ext cx="1274166" cy="1195484"/>
            </a:xfrm>
            <a:prstGeom prst="bentConnector3">
              <a:avLst>
                <a:gd name="adj1" fmla="val 100309"/>
              </a:avLst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Группа 355">
            <a:extLst>
              <a:ext uri="{FF2B5EF4-FFF2-40B4-BE49-F238E27FC236}">
                <a16:creationId xmlns:a16="http://schemas.microsoft.com/office/drawing/2014/main" xmlns="" id="{A4783F33-C715-F346-92A7-F7BB713B795C}"/>
              </a:ext>
            </a:extLst>
          </p:cNvPr>
          <p:cNvGrpSpPr/>
          <p:nvPr/>
        </p:nvGrpSpPr>
        <p:grpSpPr>
          <a:xfrm>
            <a:off x="914401" y="4857728"/>
            <a:ext cx="958573" cy="365200"/>
            <a:chOff x="2443286" y="4861230"/>
            <a:chExt cx="958573" cy="365200"/>
          </a:xfrm>
        </p:grpSpPr>
        <p:sp>
          <p:nvSpPr>
            <p:cNvPr id="357" name="Овал 356">
              <a:extLst>
                <a:ext uri="{FF2B5EF4-FFF2-40B4-BE49-F238E27FC236}">
                  <a16:creationId xmlns:a16="http://schemas.microsoft.com/office/drawing/2014/main" xmlns="" id="{7664F8E7-4042-1947-B285-3B3093CD74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29859" y="4861230"/>
              <a:ext cx="72000" cy="72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358" name="TextBox 357">
              <a:extLst>
                <a:ext uri="{FF2B5EF4-FFF2-40B4-BE49-F238E27FC236}">
                  <a16:creationId xmlns:a16="http://schemas.microsoft.com/office/drawing/2014/main" xmlns="" id="{7115FD22-1A24-344B-8579-BCB689D5D949}"/>
                </a:ext>
              </a:extLst>
            </p:cNvPr>
            <p:cNvSpPr txBox="1"/>
            <p:nvPr/>
          </p:nvSpPr>
          <p:spPr>
            <a:xfrm>
              <a:off x="2460058" y="5031003"/>
              <a:ext cx="846386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ru-RU" sz="1000" dirty="0" err="1">
                  <a:solidFill>
                    <a:schemeClr val="accent1">
                      <a:lumMod val="75000"/>
                    </a:schemeClr>
                  </a:solidFill>
                </a:rPr>
                <a:t>Медногорский</a:t>
              </a:r>
              <a:endParaRPr lang="ru-RU" sz="10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359" name="Соединительная линия уступом 358">
              <a:extLst>
                <a:ext uri="{FF2B5EF4-FFF2-40B4-BE49-F238E27FC236}">
                  <a16:creationId xmlns:a16="http://schemas.microsoft.com/office/drawing/2014/main" xmlns="" id="{D9A6DDE4-E76D-0549-9226-F37AB8BFB839}"/>
                </a:ext>
              </a:extLst>
            </p:cNvPr>
            <p:cNvCxnSpPr>
              <a:cxnSpLocks/>
              <a:stCxn id="357" idx="4"/>
            </p:cNvCxnSpPr>
            <p:nvPr/>
          </p:nvCxnSpPr>
          <p:spPr>
            <a:xfrm rot="5400000">
              <a:off x="2757972" y="4618543"/>
              <a:ext cx="293201" cy="922574"/>
            </a:xfrm>
            <a:prstGeom prst="bentConnector2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628091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FFFC0E9E-9D5F-8542-A0FA-AF60F6F73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8370" name="Слайд think-cell" r:id="rId4" imgW="7761960" imgH="10047960" progId="">
              <p:embed/>
            </p:oleObj>
          </a:graphicData>
        </a:graphic>
      </p:graphicFrame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xmlns="" id="{49291C20-8FE9-BA4C-BAC0-71C5251A6D46}"/>
              </a:ext>
            </a:extLst>
          </p:cNvPr>
          <p:cNvCxnSpPr>
            <a:cxnSpLocks/>
            <a:stCxn id="20" idx="1"/>
            <a:endCxn id="23" idx="1"/>
          </p:cNvCxnSpPr>
          <p:nvPr/>
        </p:nvCxnSpPr>
        <p:spPr>
          <a:xfrm flipH="1">
            <a:off x="4675642" y="1341437"/>
            <a:ext cx="676365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xmlns="" id="{18258E3A-0E33-3A4F-B267-9C518073D424}"/>
              </a:ext>
            </a:extLst>
          </p:cNvPr>
          <p:cNvCxnSpPr>
            <a:cxnSpLocks/>
            <a:stCxn id="20" idx="0"/>
            <a:endCxn id="23" idx="0"/>
          </p:cNvCxnSpPr>
          <p:nvPr/>
        </p:nvCxnSpPr>
        <p:spPr>
          <a:xfrm>
            <a:off x="808907" y="1341437"/>
            <a:ext cx="676362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B193D5ED-52F0-A04C-AAC9-D592EE5BFAF9}"/>
              </a:ext>
            </a:extLst>
          </p:cNvPr>
          <p:cNvGrpSpPr/>
          <p:nvPr/>
        </p:nvGrpSpPr>
        <p:grpSpPr>
          <a:xfrm>
            <a:off x="2909315" y="1341437"/>
            <a:ext cx="8485437" cy="828000"/>
            <a:chOff x="2909315" y="1341437"/>
            <a:chExt cx="8485437" cy="828000"/>
          </a:xfrm>
        </p:grpSpPr>
        <p:sp>
          <p:nvSpPr>
            <p:cNvPr id="56" name="Скругленный прямоугольник 55">
              <a:extLst>
                <a:ext uri="{FF2B5EF4-FFF2-40B4-BE49-F238E27FC236}">
                  <a16:creationId xmlns:a16="http://schemas.microsoft.com/office/drawing/2014/main" xmlns="" id="{4CFD691F-4A5F-E74C-A7AE-68BD886F140B}"/>
                </a:ext>
              </a:extLst>
            </p:cNvPr>
            <p:cNvSpPr/>
            <p:nvPr/>
          </p:nvSpPr>
          <p:spPr>
            <a:xfrm>
              <a:off x="6107658" y="134143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marL="0" lvl="1" defTabSz="1020196">
                <a:spcBef>
                  <a:spcPts val="600"/>
                </a:spcBef>
              </a:pPr>
              <a:r>
                <a:rPr lang="ru-RU" sz="1200" dirty="0">
                  <a:solidFill>
                    <a:srgbClr val="000000"/>
                  </a:solidFill>
                </a:rPr>
                <a:t>Подготовительный этап, информирование целевых аудиторий</a:t>
              </a:r>
              <a:endParaRPr lang="ru-RU" sz="1200" dirty="0"/>
            </a:p>
          </p:txBody>
        </p:sp>
        <p:cxnSp>
          <p:nvCxnSpPr>
            <p:cNvPr id="12" name="Elbow Connector 96">
              <a:extLst>
                <a:ext uri="{FF2B5EF4-FFF2-40B4-BE49-F238E27FC236}">
                  <a16:creationId xmlns:a16="http://schemas.microsoft.com/office/drawing/2014/main" xmlns="" id="{F9939276-AA76-884E-A7EB-5D66F65472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1755437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Группа 7">
            <a:extLst>
              <a:ext uri="{FF2B5EF4-FFF2-40B4-BE49-F238E27FC236}">
                <a16:creationId xmlns:a16="http://schemas.microsoft.com/office/drawing/2014/main" xmlns="" id="{D4702E3F-0963-A848-B9BA-EDFC16394745}"/>
              </a:ext>
            </a:extLst>
          </p:cNvPr>
          <p:cNvGrpSpPr/>
          <p:nvPr/>
        </p:nvGrpSpPr>
        <p:grpSpPr>
          <a:xfrm>
            <a:off x="2909315" y="5370997"/>
            <a:ext cx="8485437" cy="828000"/>
            <a:chOff x="2909315" y="5370997"/>
            <a:chExt cx="8485437" cy="828000"/>
          </a:xfrm>
        </p:grpSpPr>
        <p:sp>
          <p:nvSpPr>
            <p:cNvPr id="68" name="Скругленный прямоугольник 67">
              <a:extLst>
                <a:ext uri="{FF2B5EF4-FFF2-40B4-BE49-F238E27FC236}">
                  <a16:creationId xmlns:a16="http://schemas.microsoft.com/office/drawing/2014/main" xmlns="" id="{C932BF38-885C-1D4E-9D16-748F77BBAC55}"/>
                </a:ext>
              </a:extLst>
            </p:cNvPr>
            <p:cNvSpPr/>
            <p:nvPr/>
          </p:nvSpPr>
          <p:spPr>
            <a:xfrm>
              <a:off x="6107658" y="537099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>
                  <a:solidFill>
                    <a:schemeClr val="tx1"/>
                  </a:solidFill>
                </a:rPr>
                <a:t>Старт обучения в Инженерной школе УГМК</a:t>
              </a:r>
            </a:p>
          </p:txBody>
        </p:sp>
        <p:cxnSp>
          <p:nvCxnSpPr>
            <p:cNvPr id="10" name="Elbow Connector 96">
              <a:extLst>
                <a:ext uri="{FF2B5EF4-FFF2-40B4-BE49-F238E27FC236}">
                  <a16:creationId xmlns:a16="http://schemas.microsoft.com/office/drawing/2014/main" xmlns="" id="{5D287E4D-1874-C140-8DE8-1FF267AFBAF9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5797541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4">
            <a:extLst>
              <a:ext uri="{FF2B5EF4-FFF2-40B4-BE49-F238E27FC236}">
                <a16:creationId xmlns:a16="http://schemas.microsoft.com/office/drawing/2014/main" xmlns="" id="{4EA999EE-F72E-2444-89A9-610BE735AFB8}"/>
              </a:ext>
            </a:extLst>
          </p:cNvPr>
          <p:cNvGrpSpPr/>
          <p:nvPr/>
        </p:nvGrpSpPr>
        <p:grpSpPr>
          <a:xfrm>
            <a:off x="2919021" y="3356217"/>
            <a:ext cx="8475731" cy="828000"/>
            <a:chOff x="2603137" y="1502203"/>
            <a:chExt cx="8475731" cy="828000"/>
          </a:xfrm>
        </p:grpSpPr>
        <p:sp>
          <p:nvSpPr>
            <p:cNvPr id="65" name="Скругленный прямоугольник 64">
              <a:extLst>
                <a:ext uri="{FF2B5EF4-FFF2-40B4-BE49-F238E27FC236}">
                  <a16:creationId xmlns:a16="http://schemas.microsoft.com/office/drawing/2014/main" xmlns="" id="{0958B03F-47B3-6F4F-BCF7-0697A3E23CF3}"/>
                </a:ext>
              </a:extLst>
            </p:cNvPr>
            <p:cNvSpPr/>
            <p:nvPr/>
          </p:nvSpPr>
          <p:spPr>
            <a:xfrm>
              <a:off x="5791774" y="1502203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>
                  <a:solidFill>
                    <a:schemeClr val="tx1"/>
                  </a:solidFill>
                </a:rPr>
                <a:t>Вводный </a:t>
              </a:r>
              <a:r>
                <a:rPr lang="ru-RU" sz="1200" dirty="0" err="1">
                  <a:solidFill>
                    <a:schemeClr val="tx1"/>
                  </a:solidFill>
                </a:rPr>
                <a:t>микрообразовательный</a:t>
              </a:r>
              <a:r>
                <a:rPr lang="ru-RU" sz="1200" dirty="0">
                  <a:solidFill>
                    <a:schemeClr val="tx1"/>
                  </a:solidFill>
                </a:rPr>
                <a:t> курс «Введение в профессию инженера» + подготовка к конкурсному отбору</a:t>
              </a:r>
            </a:p>
          </p:txBody>
        </p:sp>
        <p:cxnSp>
          <p:nvCxnSpPr>
            <p:cNvPr id="13" name="Elbow Connector 96">
              <a:extLst>
                <a:ext uri="{FF2B5EF4-FFF2-40B4-BE49-F238E27FC236}">
                  <a16:creationId xmlns:a16="http://schemas.microsoft.com/office/drawing/2014/main" xmlns="" id="{31F362CB-4ABB-7044-BA10-EAB3C25FDD3B}"/>
                </a:ext>
              </a:extLst>
            </p:cNvPr>
            <p:cNvCxnSpPr>
              <a:cxnSpLocks/>
            </p:cNvCxnSpPr>
            <p:nvPr/>
          </p:nvCxnSpPr>
          <p:spPr>
            <a:xfrm>
              <a:off x="2603137" y="1908843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5">
            <a:extLst>
              <a:ext uri="{FF2B5EF4-FFF2-40B4-BE49-F238E27FC236}">
                <a16:creationId xmlns:a16="http://schemas.microsoft.com/office/drawing/2014/main" xmlns="" id="{88580101-6CF1-CB4E-A591-838744416A18}"/>
              </a:ext>
            </a:extLst>
          </p:cNvPr>
          <p:cNvGrpSpPr/>
          <p:nvPr/>
        </p:nvGrpSpPr>
        <p:grpSpPr>
          <a:xfrm>
            <a:off x="2909315" y="2341388"/>
            <a:ext cx="8485437" cy="828000"/>
            <a:chOff x="2909315" y="3356217"/>
            <a:chExt cx="8485437" cy="828000"/>
          </a:xfrm>
        </p:grpSpPr>
        <p:sp>
          <p:nvSpPr>
            <p:cNvPr id="66" name="Скругленный прямоугольник 65">
              <a:extLst>
                <a:ext uri="{FF2B5EF4-FFF2-40B4-BE49-F238E27FC236}">
                  <a16:creationId xmlns:a16="http://schemas.microsoft.com/office/drawing/2014/main" xmlns="" id="{4C87E176-5F9C-F344-9C54-0F0E8C678552}"/>
                </a:ext>
              </a:extLst>
            </p:cNvPr>
            <p:cNvSpPr/>
            <p:nvPr/>
          </p:nvSpPr>
          <p:spPr>
            <a:xfrm>
              <a:off x="6107658" y="335621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>
                  <a:solidFill>
                    <a:schemeClr val="tx1"/>
                  </a:solidFill>
                </a:rPr>
                <a:t>Установочные мотивационные встречи со школьниками</a:t>
              </a:r>
            </a:p>
          </p:txBody>
        </p:sp>
        <p:cxnSp>
          <p:nvCxnSpPr>
            <p:cNvPr id="14" name="Elbow Connector 96">
              <a:extLst>
                <a:ext uri="{FF2B5EF4-FFF2-40B4-BE49-F238E27FC236}">
                  <a16:creationId xmlns:a16="http://schemas.microsoft.com/office/drawing/2014/main" xmlns="" id="{EDE3C7C0-41D8-5944-9C07-82E6DD1DBC1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3776489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6">
            <a:extLst>
              <a:ext uri="{FF2B5EF4-FFF2-40B4-BE49-F238E27FC236}">
                <a16:creationId xmlns:a16="http://schemas.microsoft.com/office/drawing/2014/main" xmlns="" id="{F8CBEB72-BBEA-944C-AEC6-0079937F36A2}"/>
              </a:ext>
            </a:extLst>
          </p:cNvPr>
          <p:cNvGrpSpPr/>
          <p:nvPr/>
        </p:nvGrpSpPr>
        <p:grpSpPr>
          <a:xfrm>
            <a:off x="2909315" y="4363607"/>
            <a:ext cx="8485437" cy="828000"/>
            <a:chOff x="2909315" y="4363607"/>
            <a:chExt cx="8485437" cy="828000"/>
          </a:xfrm>
        </p:grpSpPr>
        <p:sp>
          <p:nvSpPr>
            <p:cNvPr id="67" name="Скругленный прямоугольник 66">
              <a:extLst>
                <a:ext uri="{FF2B5EF4-FFF2-40B4-BE49-F238E27FC236}">
                  <a16:creationId xmlns:a16="http://schemas.microsoft.com/office/drawing/2014/main" xmlns="" id="{DD632186-C8D0-4649-A2AA-5BB59DE15CD3}"/>
                </a:ext>
              </a:extLst>
            </p:cNvPr>
            <p:cNvSpPr/>
            <p:nvPr/>
          </p:nvSpPr>
          <p:spPr>
            <a:xfrm>
              <a:off x="6107658" y="436360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>
                  <a:solidFill>
                    <a:schemeClr val="tx1"/>
                  </a:solidFill>
                </a:rPr>
                <a:t>Конкурсный отбор</a:t>
              </a:r>
            </a:p>
            <a:p>
              <a:r>
                <a:rPr lang="ru-RU" sz="1200" dirty="0">
                  <a:solidFill>
                    <a:schemeClr val="tx1"/>
                  </a:solidFill>
                </a:rPr>
                <a:t>до 15 января – загрузка мотивационных эссе</a:t>
              </a:r>
            </a:p>
            <a:p>
              <a:r>
                <a:rPr lang="ru-RU" sz="1200" dirty="0">
                  <a:solidFill>
                    <a:schemeClr val="tx1"/>
                  </a:solidFill>
                </a:rPr>
                <a:t>15 января – предметное тестирование</a:t>
              </a:r>
            </a:p>
            <a:p>
              <a:r>
                <a:rPr lang="ru-RU" sz="1200" dirty="0">
                  <a:solidFill>
                    <a:schemeClr val="tx1"/>
                  </a:solidFill>
                </a:rPr>
                <a:t>До 22 января – публикация результатов</a:t>
              </a:r>
            </a:p>
          </p:txBody>
        </p:sp>
        <p:cxnSp>
          <p:nvCxnSpPr>
            <p:cNvPr id="15" name="Elbow Connector 96">
              <a:extLst>
                <a:ext uri="{FF2B5EF4-FFF2-40B4-BE49-F238E27FC236}">
                  <a16:creationId xmlns:a16="http://schemas.microsoft.com/office/drawing/2014/main" xmlns="" id="{F87BB200-FE1E-0349-96BC-153CB1380DED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4787015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39">
            <a:extLst>
              <a:ext uri="{FF2B5EF4-FFF2-40B4-BE49-F238E27FC236}">
                <a16:creationId xmlns:a16="http://schemas.microsoft.com/office/drawing/2014/main" xmlns="" id="{64B1835F-0B94-3A41-B319-6354716A791C}"/>
              </a:ext>
            </a:extLst>
          </p:cNvPr>
          <p:cNvGrpSpPr/>
          <p:nvPr/>
        </p:nvGrpSpPr>
        <p:grpSpPr>
          <a:xfrm>
            <a:off x="1687557" y="5383541"/>
            <a:ext cx="2785796" cy="828000"/>
            <a:chOff x="1687557" y="5383541"/>
            <a:chExt cx="2785796" cy="828000"/>
          </a:xfrm>
        </p:grpSpPr>
        <p:sp>
          <p:nvSpPr>
            <p:cNvPr id="11" name="Freeform 98">
              <a:extLst>
                <a:ext uri="{FF2B5EF4-FFF2-40B4-BE49-F238E27FC236}">
                  <a16:creationId xmlns:a16="http://schemas.microsoft.com/office/drawing/2014/main" xmlns="" id="{93C0C761-AC2D-094A-8BA3-01CF3D779498}"/>
                </a:ext>
              </a:extLst>
            </p:cNvPr>
            <p:cNvSpPr/>
            <p:nvPr/>
          </p:nvSpPr>
          <p:spPr>
            <a:xfrm>
              <a:off x="1687557" y="5383541"/>
              <a:ext cx="2785796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xmlns="" id="{A768B2C2-5F99-C04D-82E1-0CC74090878B}"/>
                </a:ext>
              </a:extLst>
            </p:cNvPr>
            <p:cNvSpPr/>
            <p:nvPr/>
          </p:nvSpPr>
          <p:spPr>
            <a:xfrm>
              <a:off x="2784056" y="5714441"/>
              <a:ext cx="1096198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24 января 2022</a:t>
              </a:r>
            </a:p>
          </p:txBody>
        </p:sp>
      </p:grpSp>
      <p:grpSp>
        <p:nvGrpSpPr>
          <p:cNvPr id="24" name="Группа 38">
            <a:extLst>
              <a:ext uri="{FF2B5EF4-FFF2-40B4-BE49-F238E27FC236}">
                <a16:creationId xmlns:a16="http://schemas.microsoft.com/office/drawing/2014/main" xmlns="" id="{E3E48A16-DF0A-A047-890A-16E1AB7DC51F}"/>
              </a:ext>
            </a:extLst>
          </p:cNvPr>
          <p:cNvGrpSpPr/>
          <p:nvPr/>
        </p:nvGrpSpPr>
        <p:grpSpPr>
          <a:xfrm>
            <a:off x="1485269" y="4373015"/>
            <a:ext cx="3190373" cy="828000"/>
            <a:chOff x="1485269" y="4373015"/>
            <a:chExt cx="3190373" cy="828000"/>
          </a:xfrm>
        </p:grpSpPr>
        <p:sp>
          <p:nvSpPr>
            <p:cNvPr id="23" name="Freeform 98">
              <a:extLst>
                <a:ext uri="{FF2B5EF4-FFF2-40B4-BE49-F238E27FC236}">
                  <a16:creationId xmlns:a16="http://schemas.microsoft.com/office/drawing/2014/main" xmlns="" id="{4AD300C2-D8B5-8A42-ADA1-581BD98818E5}"/>
                </a:ext>
              </a:extLst>
            </p:cNvPr>
            <p:cNvSpPr/>
            <p:nvPr/>
          </p:nvSpPr>
          <p:spPr>
            <a:xfrm>
              <a:off x="1485269" y="4373015"/>
              <a:ext cx="3190373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EB06F555-B985-2E4C-B5D1-63028B7BEC30}"/>
                </a:ext>
              </a:extLst>
            </p:cNvPr>
            <p:cNvSpPr/>
            <p:nvPr/>
          </p:nvSpPr>
          <p:spPr>
            <a:xfrm>
              <a:off x="2391335" y="4721068"/>
              <a:ext cx="131741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15-22 января 2022</a:t>
              </a:r>
            </a:p>
          </p:txBody>
        </p:sp>
      </p:grpSp>
      <p:grpSp>
        <p:nvGrpSpPr>
          <p:cNvPr id="25" name="Группа 37">
            <a:extLst>
              <a:ext uri="{FF2B5EF4-FFF2-40B4-BE49-F238E27FC236}">
                <a16:creationId xmlns:a16="http://schemas.microsoft.com/office/drawing/2014/main" xmlns="" id="{C6CB0434-5F81-A741-8B70-DD41993F386E}"/>
              </a:ext>
            </a:extLst>
          </p:cNvPr>
          <p:cNvGrpSpPr/>
          <p:nvPr/>
        </p:nvGrpSpPr>
        <p:grpSpPr>
          <a:xfrm>
            <a:off x="1252164" y="3362489"/>
            <a:ext cx="3656582" cy="828000"/>
            <a:chOff x="1252164" y="3362489"/>
            <a:chExt cx="3656582" cy="828000"/>
          </a:xfrm>
        </p:grpSpPr>
        <p:sp>
          <p:nvSpPr>
            <p:cNvPr id="22" name="Freeform 98">
              <a:extLst>
                <a:ext uri="{FF2B5EF4-FFF2-40B4-BE49-F238E27FC236}">
                  <a16:creationId xmlns:a16="http://schemas.microsoft.com/office/drawing/2014/main" xmlns="" id="{FAE66DF8-E516-1B4A-B69A-7F7E5BB2D740}"/>
                </a:ext>
              </a:extLst>
            </p:cNvPr>
            <p:cNvSpPr/>
            <p:nvPr/>
          </p:nvSpPr>
          <p:spPr>
            <a:xfrm>
              <a:off x="1252164" y="3362489"/>
              <a:ext cx="3656582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38F91A73-8125-9346-A889-40B1AB4416A8}"/>
                </a:ext>
              </a:extLst>
            </p:cNvPr>
            <p:cNvSpPr/>
            <p:nvPr/>
          </p:nvSpPr>
          <p:spPr>
            <a:xfrm>
              <a:off x="2250448" y="3596658"/>
              <a:ext cx="2222905" cy="3323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23-29 декабря 2021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11-13 января 2022</a:t>
              </a:r>
            </a:p>
          </p:txBody>
        </p:sp>
      </p:grpSp>
      <p:grpSp>
        <p:nvGrpSpPr>
          <p:cNvPr id="26" name="Группа 28">
            <a:extLst>
              <a:ext uri="{FF2B5EF4-FFF2-40B4-BE49-F238E27FC236}">
                <a16:creationId xmlns:a16="http://schemas.microsoft.com/office/drawing/2014/main" xmlns="" id="{55EB6852-DD2B-344E-9D60-4F1800314D88}"/>
              </a:ext>
            </a:extLst>
          </p:cNvPr>
          <p:cNvGrpSpPr/>
          <p:nvPr/>
        </p:nvGrpSpPr>
        <p:grpSpPr>
          <a:xfrm>
            <a:off x="1030874" y="2351963"/>
            <a:ext cx="4099169" cy="828000"/>
            <a:chOff x="1030874" y="2351963"/>
            <a:chExt cx="4099169" cy="828000"/>
          </a:xfrm>
        </p:grpSpPr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xmlns="" id="{6EE384CB-CEAA-FC44-87AE-7F6C4AB710E2}"/>
                </a:ext>
              </a:extLst>
            </p:cNvPr>
            <p:cNvSpPr/>
            <p:nvPr/>
          </p:nvSpPr>
          <p:spPr>
            <a:xfrm>
              <a:off x="1030874" y="2351963"/>
              <a:ext cx="4099169" cy="828000"/>
            </a:xfrm>
            <a:custGeom>
              <a:avLst/>
              <a:gdLst>
                <a:gd name="connsiteX0" fmla="*/ 0 w 1807573"/>
                <a:gd name="connsiteY0" fmla="*/ 0 h 557842"/>
                <a:gd name="connsiteX1" fmla="*/ 1807573 w 1807573"/>
                <a:gd name="connsiteY1" fmla="*/ 0 h 557842"/>
                <a:gd name="connsiteX2" fmla="*/ 1746765 w 1807573"/>
                <a:gd name="connsiteY2" fmla="*/ 557842 h 557842"/>
                <a:gd name="connsiteX3" fmla="*/ 60808 w 1807573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7573" h="557842">
                  <a:moveTo>
                    <a:pt x="0" y="0"/>
                  </a:moveTo>
                  <a:lnTo>
                    <a:pt x="1807573" y="0"/>
                  </a:lnTo>
                  <a:lnTo>
                    <a:pt x="1746765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BC3BAF30-6FA9-E043-B8D8-AED6C40F8391}"/>
                </a:ext>
              </a:extLst>
            </p:cNvPr>
            <p:cNvSpPr/>
            <p:nvPr/>
          </p:nvSpPr>
          <p:spPr>
            <a:xfrm>
              <a:off x="2038144" y="2679988"/>
              <a:ext cx="140269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13-22 декабря </a:t>
              </a:r>
              <a:r>
                <a:rPr lang="ru-RU" sz="1200" dirty="0" smtClean="0">
                  <a:solidFill>
                    <a:srgbClr val="FFFFFF"/>
                  </a:solidFill>
                </a:rPr>
                <a:t>2021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Группа 27">
            <a:extLst>
              <a:ext uri="{FF2B5EF4-FFF2-40B4-BE49-F238E27FC236}">
                <a16:creationId xmlns:a16="http://schemas.microsoft.com/office/drawing/2014/main" xmlns="" id="{29783A71-9043-6543-AF95-66C173720D5B}"/>
              </a:ext>
            </a:extLst>
          </p:cNvPr>
          <p:cNvGrpSpPr/>
          <p:nvPr/>
        </p:nvGrpSpPr>
        <p:grpSpPr>
          <a:xfrm>
            <a:off x="808907" y="1341437"/>
            <a:ext cx="4543100" cy="828000"/>
            <a:chOff x="808907" y="1341437"/>
            <a:chExt cx="4543100" cy="828000"/>
          </a:xfrm>
        </p:grpSpPr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xmlns="" id="{E9CB7AE9-6BCC-E647-BAB1-C16C33FD276E}"/>
                </a:ext>
              </a:extLst>
            </p:cNvPr>
            <p:cNvSpPr/>
            <p:nvPr/>
          </p:nvSpPr>
          <p:spPr>
            <a:xfrm>
              <a:off x="808907" y="1341437"/>
              <a:ext cx="4543100" cy="828000"/>
            </a:xfrm>
            <a:custGeom>
              <a:avLst/>
              <a:gdLst>
                <a:gd name="connsiteX0" fmla="*/ 0 w 2003329"/>
                <a:gd name="connsiteY0" fmla="*/ 0 h 557842"/>
                <a:gd name="connsiteX1" fmla="*/ 2003329 w 2003329"/>
                <a:gd name="connsiteY1" fmla="*/ 0 h 557842"/>
                <a:gd name="connsiteX2" fmla="*/ 1942521 w 2003329"/>
                <a:gd name="connsiteY2" fmla="*/ 557842 h 557842"/>
                <a:gd name="connsiteX3" fmla="*/ 60808 w 200332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3329" h="557842">
                  <a:moveTo>
                    <a:pt x="0" y="0"/>
                  </a:moveTo>
                  <a:lnTo>
                    <a:pt x="2003329" y="0"/>
                  </a:lnTo>
                  <a:lnTo>
                    <a:pt x="194252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6F79125D-5B0A-FE4C-80B7-2407B4720354}"/>
                </a:ext>
              </a:extLst>
            </p:cNvPr>
            <p:cNvSpPr/>
            <p:nvPr/>
          </p:nvSpPr>
          <p:spPr>
            <a:xfrm>
              <a:off x="1823032" y="1666170"/>
              <a:ext cx="207422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22 ноября – 12 декабря </a:t>
              </a:r>
              <a:r>
                <a:rPr lang="ru-RU" sz="1200" dirty="0" smtClean="0">
                  <a:solidFill>
                    <a:srgbClr val="FFFFFF"/>
                  </a:solidFill>
                </a:rPr>
                <a:t>2021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1A7B263-B42A-F346-A236-165A39914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/>
              <a:t>Отбор учеников в Инженерную школу УГМК</a:t>
            </a:r>
          </a:p>
        </p:txBody>
      </p:sp>
      <p:sp>
        <p:nvSpPr>
          <p:cNvPr id="61" name="Текст 60">
            <a:extLst>
              <a:ext uri="{FF2B5EF4-FFF2-40B4-BE49-F238E27FC236}">
                <a16:creationId xmlns:a16="http://schemas.microsoft.com/office/drawing/2014/main" xmlns="" id="{D96C9166-F116-9642-B5EB-5B02C76732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xmlns="" id="{43F4E19D-3753-3C4A-AE57-8FBF122ECC88}"/>
              </a:ext>
            </a:extLst>
          </p:cNvPr>
          <p:cNvCxnSpPr>
            <a:cxnSpLocks/>
            <a:stCxn id="23" idx="3"/>
            <a:endCxn id="11" idx="0"/>
          </p:cNvCxnSpPr>
          <p:nvPr/>
        </p:nvCxnSpPr>
        <p:spPr>
          <a:xfrm>
            <a:off x="1605586" y="5201015"/>
            <a:ext cx="81971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ECFC88E3-87CE-7349-B3CA-A4BB84871C5F}"/>
              </a:ext>
            </a:extLst>
          </p:cNvPr>
          <p:cNvCxnSpPr>
            <a:cxnSpLocks/>
            <a:stCxn id="23" idx="2"/>
            <a:endCxn id="11" idx="1"/>
          </p:cNvCxnSpPr>
          <p:nvPr/>
        </p:nvCxnSpPr>
        <p:spPr>
          <a:xfrm flipH="1">
            <a:off x="4473353" y="5201015"/>
            <a:ext cx="81972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Группа 80">
            <a:extLst>
              <a:ext uri="{FF2B5EF4-FFF2-40B4-BE49-F238E27FC236}">
                <a16:creationId xmlns:a16="http://schemas.microsoft.com/office/drawing/2014/main" xmlns="" id="{3A878F80-506F-4B7E-8339-1E47F2B9AF28}"/>
              </a:ext>
            </a:extLst>
          </p:cNvPr>
          <p:cNvGrpSpPr/>
          <p:nvPr/>
        </p:nvGrpSpPr>
        <p:grpSpPr>
          <a:xfrm>
            <a:off x="1091972" y="1477958"/>
            <a:ext cx="550800" cy="550800"/>
            <a:chOff x="1091972" y="1477958"/>
            <a:chExt cx="550800" cy="550800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xmlns="" id="{1F64E493-484C-4DA3-B72C-EAC9C55830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1972" y="1477958"/>
              <a:ext cx="550800" cy="55080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xmlns="" id="{7E590DF9-D74D-4FFB-8BCE-2B157BEF0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="" xmlns:asvg="http://schemas.microsoft.com/office/drawing/2016/SVG/main" r:embed=""/>
                </a:ext>
              </a:extLst>
            </a:blip>
            <a:stretch>
              <a:fillRect/>
            </a:stretch>
          </p:blipFill>
          <p:spPr>
            <a:xfrm>
              <a:off x="1187372" y="1573358"/>
              <a:ext cx="360000" cy="360000"/>
            </a:xfrm>
            <a:prstGeom prst="rect">
              <a:avLst/>
            </a:prstGeom>
          </p:spPr>
        </p:pic>
      </p:grpSp>
      <p:grpSp>
        <p:nvGrpSpPr>
          <p:cNvPr id="29" name="Группа 86">
            <a:extLst>
              <a:ext uri="{FF2B5EF4-FFF2-40B4-BE49-F238E27FC236}">
                <a16:creationId xmlns:a16="http://schemas.microsoft.com/office/drawing/2014/main" xmlns="" id="{53CD0805-3E6D-46E8-9EA6-95AC1DE9DB29}"/>
              </a:ext>
            </a:extLst>
          </p:cNvPr>
          <p:cNvGrpSpPr/>
          <p:nvPr/>
        </p:nvGrpSpPr>
        <p:grpSpPr>
          <a:xfrm>
            <a:off x="1960654" y="5531729"/>
            <a:ext cx="550305" cy="550305"/>
            <a:chOff x="1960654" y="5531729"/>
            <a:chExt cx="550305" cy="550305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xmlns="" id="{EEBAB07B-5220-4573-869B-3A5FF702C884}"/>
                </a:ext>
              </a:extLst>
            </p:cNvPr>
            <p:cNvSpPr/>
            <p:nvPr/>
          </p:nvSpPr>
          <p:spPr>
            <a:xfrm>
              <a:off x="1960654" y="5531729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xmlns="" id="{3EFF642D-FA13-4C67-B1D0-929FB4DB3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"/>
                </a:ext>
              </a:extLst>
            </a:blip>
            <a:stretch>
              <a:fillRect/>
            </a:stretch>
          </p:blipFill>
          <p:spPr>
            <a:xfrm>
              <a:off x="2056506" y="5655884"/>
              <a:ext cx="358600" cy="358600"/>
            </a:xfrm>
            <a:prstGeom prst="rect">
              <a:avLst/>
            </a:prstGeom>
          </p:spPr>
        </p:pic>
      </p:grpSp>
      <p:grpSp>
        <p:nvGrpSpPr>
          <p:cNvPr id="30" name="Группа 54">
            <a:extLst>
              <a:ext uri="{FF2B5EF4-FFF2-40B4-BE49-F238E27FC236}">
                <a16:creationId xmlns:a16="http://schemas.microsoft.com/office/drawing/2014/main" xmlns="" id="{7EAA103A-565C-419B-A1CF-2A70B53A6E22}"/>
              </a:ext>
            </a:extLst>
          </p:cNvPr>
          <p:cNvGrpSpPr/>
          <p:nvPr/>
        </p:nvGrpSpPr>
        <p:grpSpPr>
          <a:xfrm>
            <a:off x="1713403" y="4496006"/>
            <a:ext cx="550305" cy="550305"/>
            <a:chOff x="1729142" y="1804128"/>
            <a:chExt cx="550305" cy="550305"/>
          </a:xfrm>
        </p:grpSpPr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xmlns="" id="{4349A203-B2C6-4616-8108-75934E383119}"/>
                </a:ext>
              </a:extLst>
            </p:cNvPr>
            <p:cNvSpPr/>
            <p:nvPr/>
          </p:nvSpPr>
          <p:spPr>
            <a:xfrm>
              <a:off x="1729142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1" name="Рисунок 45">
              <a:extLst>
                <a:ext uri="{FF2B5EF4-FFF2-40B4-BE49-F238E27FC236}">
                  <a16:creationId xmlns:a16="http://schemas.microsoft.com/office/drawing/2014/main" xmlns="" id="{2A9D4329-92D4-46AF-AC94-1903520C0C90}"/>
                </a:ext>
              </a:extLst>
            </p:cNvPr>
            <p:cNvGrpSpPr/>
            <p:nvPr/>
          </p:nvGrpSpPr>
          <p:grpSpPr>
            <a:xfrm>
              <a:off x="1857837" y="1922874"/>
              <a:ext cx="293100" cy="312720"/>
              <a:chOff x="1857837" y="1922874"/>
              <a:chExt cx="293100" cy="312720"/>
            </a:xfrm>
            <a:solidFill>
              <a:srgbClr val="000000"/>
            </a:solidFill>
          </p:grpSpPr>
          <p:sp>
            <p:nvSpPr>
              <p:cNvPr id="59" name="Рисунок 45">
                <a:extLst>
                  <a:ext uri="{FF2B5EF4-FFF2-40B4-BE49-F238E27FC236}">
                    <a16:creationId xmlns:a16="http://schemas.microsoft.com/office/drawing/2014/main" xmlns="" id="{5807B0DA-B52C-4B8E-9149-EF893D226078}"/>
                  </a:ext>
                </a:extLst>
              </p:cNvPr>
              <p:cNvSpPr/>
              <p:nvPr/>
            </p:nvSpPr>
            <p:spPr>
              <a:xfrm>
                <a:off x="1950586" y="1952263"/>
                <a:ext cx="170627" cy="170666"/>
              </a:xfrm>
              <a:custGeom>
                <a:avLst/>
                <a:gdLst>
                  <a:gd name="connsiteX0" fmla="*/ 142231 w 170627"/>
                  <a:gd name="connsiteY0" fmla="*/ 21756 h 170666"/>
                  <a:gd name="connsiteX1" fmla="*/ 80585 w 170627"/>
                  <a:gd name="connsiteY1" fmla="*/ 134 h 170666"/>
                  <a:gd name="connsiteX2" fmla="*/ 21711 w 170627"/>
                  <a:gd name="connsiteY2" fmla="*/ 28434 h 170666"/>
                  <a:gd name="connsiteX3" fmla="*/ 28396 w 170627"/>
                  <a:gd name="connsiteY3" fmla="*/ 148958 h 170666"/>
                  <a:gd name="connsiteX4" fmla="*/ 85272 w 170627"/>
                  <a:gd name="connsiteY4" fmla="*/ 170666 h 170666"/>
                  <a:gd name="connsiteX5" fmla="*/ 148920 w 170627"/>
                  <a:gd name="connsiteY5" fmla="*/ 142273 h 170666"/>
                  <a:gd name="connsiteX6" fmla="*/ 142231 w 170627"/>
                  <a:gd name="connsiteY6" fmla="*/ 21756 h 170666"/>
                  <a:gd name="connsiteX7" fmla="*/ 140867 w 170627"/>
                  <a:gd name="connsiteY7" fmla="*/ 135077 h 170666"/>
                  <a:gd name="connsiteX8" fmla="*/ 35596 w 170627"/>
                  <a:gd name="connsiteY8" fmla="*/ 140909 h 170666"/>
                  <a:gd name="connsiteX9" fmla="*/ 29753 w 170627"/>
                  <a:gd name="connsiteY9" fmla="*/ 35638 h 170666"/>
                  <a:gd name="connsiteX10" fmla="*/ 81179 w 170627"/>
                  <a:gd name="connsiteY10" fmla="*/ 10916 h 170666"/>
                  <a:gd name="connsiteX11" fmla="*/ 85402 w 170627"/>
                  <a:gd name="connsiteY11" fmla="*/ 10801 h 170666"/>
                  <a:gd name="connsiteX12" fmla="*/ 135028 w 170627"/>
                  <a:gd name="connsiteY12" fmla="*/ 29802 h 170666"/>
                  <a:gd name="connsiteX13" fmla="*/ 140867 w 170627"/>
                  <a:gd name="connsiteY13" fmla="*/ 135077 h 170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0627" h="170666">
                    <a:moveTo>
                      <a:pt x="142231" y="21756"/>
                    </a:moveTo>
                    <a:cubicBezTo>
                      <a:pt x="125236" y="6550"/>
                      <a:pt x="103308" y="-1129"/>
                      <a:pt x="80585" y="134"/>
                    </a:cubicBezTo>
                    <a:cubicBezTo>
                      <a:pt x="57822" y="1398"/>
                      <a:pt x="36913" y="11449"/>
                      <a:pt x="21711" y="28434"/>
                    </a:cubicBezTo>
                    <a:cubicBezTo>
                      <a:pt x="-9674" y="63505"/>
                      <a:pt x="-6675" y="117574"/>
                      <a:pt x="28396" y="148958"/>
                    </a:cubicBezTo>
                    <a:cubicBezTo>
                      <a:pt x="44661" y="163510"/>
                      <a:pt x="64997" y="170666"/>
                      <a:pt x="85272" y="170666"/>
                    </a:cubicBezTo>
                    <a:cubicBezTo>
                      <a:pt x="108726" y="170666"/>
                      <a:pt x="132087" y="161083"/>
                      <a:pt x="148920" y="142273"/>
                    </a:cubicBezTo>
                    <a:cubicBezTo>
                      <a:pt x="180301" y="107209"/>
                      <a:pt x="177303" y="53141"/>
                      <a:pt x="142231" y="21756"/>
                    </a:cubicBezTo>
                    <a:close/>
                    <a:moveTo>
                      <a:pt x="140867" y="135077"/>
                    </a:moveTo>
                    <a:cubicBezTo>
                      <a:pt x="113460" y="165709"/>
                      <a:pt x="66232" y="168330"/>
                      <a:pt x="35596" y="140909"/>
                    </a:cubicBezTo>
                    <a:cubicBezTo>
                      <a:pt x="4960" y="113495"/>
                      <a:pt x="2343" y="66270"/>
                      <a:pt x="29753" y="35638"/>
                    </a:cubicBezTo>
                    <a:cubicBezTo>
                      <a:pt x="43033" y="20798"/>
                      <a:pt x="61300" y="12018"/>
                      <a:pt x="81179" y="10916"/>
                    </a:cubicBezTo>
                    <a:cubicBezTo>
                      <a:pt x="82594" y="10841"/>
                      <a:pt x="83998" y="10801"/>
                      <a:pt x="85402" y="10801"/>
                    </a:cubicBezTo>
                    <a:cubicBezTo>
                      <a:pt x="103758" y="10801"/>
                      <a:pt x="121240" y="17465"/>
                      <a:pt x="135028" y="29802"/>
                    </a:cubicBezTo>
                    <a:cubicBezTo>
                      <a:pt x="165664" y="57220"/>
                      <a:pt x="168281" y="104444"/>
                      <a:pt x="140867" y="1350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Рисунок 45">
                <a:extLst>
                  <a:ext uri="{FF2B5EF4-FFF2-40B4-BE49-F238E27FC236}">
                    <a16:creationId xmlns:a16="http://schemas.microsoft.com/office/drawing/2014/main" xmlns="" id="{2CD888AB-114E-4839-B737-D2C86C70EB7F}"/>
                  </a:ext>
                </a:extLst>
              </p:cNvPr>
              <p:cNvSpPr/>
              <p:nvPr/>
            </p:nvSpPr>
            <p:spPr>
              <a:xfrm>
                <a:off x="1988556" y="1975720"/>
                <a:ext cx="90627" cy="29604"/>
              </a:xfrm>
              <a:custGeom>
                <a:avLst/>
                <a:gdLst>
                  <a:gd name="connsiteX0" fmla="*/ 1377 w 90627"/>
                  <a:gd name="connsiteY0" fmla="*/ 20604 h 29604"/>
                  <a:gd name="connsiteX1" fmla="*/ 1798 w 90627"/>
                  <a:gd name="connsiteY1" fmla="*/ 28229 h 29604"/>
                  <a:gd name="connsiteX2" fmla="*/ 5398 w 90627"/>
                  <a:gd name="connsiteY2" fmla="*/ 29604 h 29604"/>
                  <a:gd name="connsiteX3" fmla="*/ 9423 w 90627"/>
                  <a:gd name="connsiteY3" fmla="*/ 27804 h 29604"/>
                  <a:gd name="connsiteX4" fmla="*/ 81628 w 90627"/>
                  <a:gd name="connsiteY4" fmla="*/ 23798 h 29604"/>
                  <a:gd name="connsiteX5" fmla="*/ 89253 w 90627"/>
                  <a:gd name="connsiteY5" fmla="*/ 23376 h 29604"/>
                  <a:gd name="connsiteX6" fmla="*/ 88828 w 90627"/>
                  <a:gd name="connsiteY6" fmla="*/ 15752 h 29604"/>
                  <a:gd name="connsiteX7" fmla="*/ 1377 w 90627"/>
                  <a:gd name="connsiteY7" fmla="*/ 20604 h 2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627" h="29604">
                    <a:moveTo>
                      <a:pt x="1377" y="20604"/>
                    </a:moveTo>
                    <a:cubicBezTo>
                      <a:pt x="-614" y="22829"/>
                      <a:pt x="-423" y="26242"/>
                      <a:pt x="1798" y="28229"/>
                    </a:cubicBezTo>
                    <a:cubicBezTo>
                      <a:pt x="2832" y="29151"/>
                      <a:pt x="4117" y="29604"/>
                      <a:pt x="5398" y="29604"/>
                    </a:cubicBezTo>
                    <a:cubicBezTo>
                      <a:pt x="6882" y="29604"/>
                      <a:pt x="8358" y="29000"/>
                      <a:pt x="9423" y="27804"/>
                    </a:cubicBezTo>
                    <a:cubicBezTo>
                      <a:pt x="28230" y="6791"/>
                      <a:pt x="60615" y="4998"/>
                      <a:pt x="81628" y="23798"/>
                    </a:cubicBezTo>
                    <a:cubicBezTo>
                      <a:pt x="83850" y="25788"/>
                      <a:pt x="87259" y="25598"/>
                      <a:pt x="89253" y="23376"/>
                    </a:cubicBezTo>
                    <a:cubicBezTo>
                      <a:pt x="91240" y="21152"/>
                      <a:pt x="91050" y="17739"/>
                      <a:pt x="88828" y="15752"/>
                    </a:cubicBezTo>
                    <a:cubicBezTo>
                      <a:pt x="63376" y="-7022"/>
                      <a:pt x="24147" y="-4840"/>
                      <a:pt x="1377" y="2060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Рисунок 45">
                <a:extLst>
                  <a:ext uri="{FF2B5EF4-FFF2-40B4-BE49-F238E27FC236}">
                    <a16:creationId xmlns:a16="http://schemas.microsoft.com/office/drawing/2014/main" xmlns="" id="{238F6772-3465-44C3-87ED-0391F0C3B1D2}"/>
                  </a:ext>
                </a:extLst>
              </p:cNvPr>
              <p:cNvSpPr/>
              <p:nvPr/>
            </p:nvSpPr>
            <p:spPr>
              <a:xfrm>
                <a:off x="1857837" y="1922874"/>
                <a:ext cx="293100" cy="312720"/>
              </a:xfrm>
              <a:custGeom>
                <a:avLst/>
                <a:gdLst>
                  <a:gd name="connsiteX0" fmla="*/ 292890 w 293100"/>
                  <a:gd name="connsiteY0" fmla="*/ 107791 h 312720"/>
                  <a:gd name="connsiteX1" fmla="*/ 254521 w 293100"/>
                  <a:gd name="connsiteY1" fmla="*/ 28875 h 312720"/>
                  <a:gd name="connsiteX2" fmla="*/ 171584 w 293100"/>
                  <a:gd name="connsiteY2" fmla="*/ 205 h 312720"/>
                  <a:gd name="connsiteX3" fmla="*/ 92672 w 293100"/>
                  <a:gd name="connsiteY3" fmla="*/ 38574 h 312720"/>
                  <a:gd name="connsiteX4" fmla="*/ 98378 w 293100"/>
                  <a:gd name="connsiteY4" fmla="*/ 196696 h 312720"/>
                  <a:gd name="connsiteX5" fmla="*/ 79756 w 293100"/>
                  <a:gd name="connsiteY5" fmla="*/ 217944 h 312720"/>
                  <a:gd name="connsiteX6" fmla="*/ 73783 w 293100"/>
                  <a:gd name="connsiteY6" fmla="*/ 212648 h 312720"/>
                  <a:gd name="connsiteX7" fmla="*/ 66176 w 293100"/>
                  <a:gd name="connsiteY7" fmla="*/ 213087 h 312720"/>
                  <a:gd name="connsiteX8" fmla="*/ 1376 w 293100"/>
                  <a:gd name="connsiteY8" fmla="*/ 285501 h 312720"/>
                  <a:gd name="connsiteX9" fmla="*/ 8 w 293100"/>
                  <a:gd name="connsiteY9" fmla="*/ 289400 h 312720"/>
                  <a:gd name="connsiteX10" fmla="*/ 1798 w 293100"/>
                  <a:gd name="connsiteY10" fmla="*/ 293126 h 312720"/>
                  <a:gd name="connsiteX11" fmla="*/ 22156 w 293100"/>
                  <a:gd name="connsiteY11" fmla="*/ 311346 h 312720"/>
                  <a:gd name="connsiteX12" fmla="*/ 25756 w 293100"/>
                  <a:gd name="connsiteY12" fmla="*/ 312721 h 312720"/>
                  <a:gd name="connsiteX13" fmla="*/ 29780 w 293100"/>
                  <a:gd name="connsiteY13" fmla="*/ 310921 h 312720"/>
                  <a:gd name="connsiteX14" fmla="*/ 94667 w 293100"/>
                  <a:gd name="connsiteY14" fmla="*/ 238413 h 312720"/>
                  <a:gd name="connsiteX15" fmla="*/ 96035 w 293100"/>
                  <a:gd name="connsiteY15" fmla="*/ 234500 h 312720"/>
                  <a:gd name="connsiteX16" fmla="*/ 94228 w 293100"/>
                  <a:gd name="connsiteY16" fmla="*/ 230774 h 312720"/>
                  <a:gd name="connsiteX17" fmla="*/ 87838 w 293100"/>
                  <a:gd name="connsiteY17" fmla="*/ 225108 h 312720"/>
                  <a:gd name="connsiteX18" fmla="*/ 106450 w 293100"/>
                  <a:gd name="connsiteY18" fmla="*/ 203875 h 312720"/>
                  <a:gd name="connsiteX19" fmla="*/ 178291 w 293100"/>
                  <a:gd name="connsiteY19" fmla="*/ 229305 h 312720"/>
                  <a:gd name="connsiteX20" fmla="*/ 185308 w 293100"/>
                  <a:gd name="connsiteY20" fmla="*/ 229093 h 312720"/>
                  <a:gd name="connsiteX21" fmla="*/ 264223 w 293100"/>
                  <a:gd name="connsiteY21" fmla="*/ 190720 h 312720"/>
                  <a:gd name="connsiteX22" fmla="*/ 292890 w 293100"/>
                  <a:gd name="connsiteY22" fmla="*/ 107791 h 312720"/>
                  <a:gd name="connsiteX23" fmla="*/ 25334 w 293100"/>
                  <a:gd name="connsiteY23" fmla="*/ 299696 h 312720"/>
                  <a:gd name="connsiteX24" fmla="*/ 13026 w 293100"/>
                  <a:gd name="connsiteY24" fmla="*/ 288680 h 312720"/>
                  <a:gd name="connsiteX25" fmla="*/ 70640 w 293100"/>
                  <a:gd name="connsiteY25" fmla="*/ 224298 h 312720"/>
                  <a:gd name="connsiteX26" fmla="*/ 83003 w 293100"/>
                  <a:gd name="connsiteY26" fmla="*/ 235260 h 312720"/>
                  <a:gd name="connsiteX27" fmla="*/ 25334 w 293100"/>
                  <a:gd name="connsiteY27" fmla="*/ 299696 h 312720"/>
                  <a:gd name="connsiteX28" fmla="*/ 256141 w 293100"/>
                  <a:gd name="connsiteY28" fmla="*/ 183556 h 312720"/>
                  <a:gd name="connsiteX29" fmla="*/ 184660 w 293100"/>
                  <a:gd name="connsiteY29" fmla="*/ 218311 h 312720"/>
                  <a:gd name="connsiteX30" fmla="*/ 109538 w 293100"/>
                  <a:gd name="connsiteY30" fmla="*/ 192344 h 312720"/>
                  <a:gd name="connsiteX31" fmla="*/ 100754 w 293100"/>
                  <a:gd name="connsiteY31" fmla="*/ 45738 h 312720"/>
                  <a:gd name="connsiteX32" fmla="*/ 172236 w 293100"/>
                  <a:gd name="connsiteY32" fmla="*/ 10983 h 312720"/>
                  <a:gd name="connsiteX33" fmla="*/ 178590 w 293100"/>
                  <a:gd name="connsiteY33" fmla="*/ 10792 h 312720"/>
                  <a:gd name="connsiteX34" fmla="*/ 247361 w 293100"/>
                  <a:gd name="connsiteY34" fmla="*/ 36954 h 312720"/>
                  <a:gd name="connsiteX35" fmla="*/ 282115 w 293100"/>
                  <a:gd name="connsiteY35" fmla="*/ 108435 h 312720"/>
                  <a:gd name="connsiteX36" fmla="*/ 256141 w 293100"/>
                  <a:gd name="connsiteY36" fmla="*/ 183556 h 3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3100" h="312720">
                    <a:moveTo>
                      <a:pt x="292890" y="107791"/>
                    </a:moveTo>
                    <a:cubicBezTo>
                      <a:pt x="291058" y="77220"/>
                      <a:pt x="277432" y="49197"/>
                      <a:pt x="254521" y="28875"/>
                    </a:cubicBezTo>
                    <a:cubicBezTo>
                      <a:pt x="231611" y="8553"/>
                      <a:pt x="202184" y="-1599"/>
                      <a:pt x="171584" y="205"/>
                    </a:cubicBezTo>
                    <a:cubicBezTo>
                      <a:pt x="141017" y="2037"/>
                      <a:pt x="112991" y="15663"/>
                      <a:pt x="92672" y="38574"/>
                    </a:cubicBezTo>
                    <a:cubicBezTo>
                      <a:pt x="51938" y="84499"/>
                      <a:pt x="54869" y="154285"/>
                      <a:pt x="98378" y="196696"/>
                    </a:cubicBezTo>
                    <a:lnTo>
                      <a:pt x="79756" y="217944"/>
                    </a:lnTo>
                    <a:lnTo>
                      <a:pt x="73783" y="212648"/>
                    </a:lnTo>
                    <a:cubicBezTo>
                      <a:pt x="71555" y="210668"/>
                      <a:pt x="68156" y="210870"/>
                      <a:pt x="66176" y="213087"/>
                    </a:cubicBezTo>
                    <a:lnTo>
                      <a:pt x="1376" y="285501"/>
                    </a:lnTo>
                    <a:cubicBezTo>
                      <a:pt x="419" y="286567"/>
                      <a:pt x="-71" y="287971"/>
                      <a:pt x="8" y="289400"/>
                    </a:cubicBezTo>
                    <a:cubicBezTo>
                      <a:pt x="88" y="290829"/>
                      <a:pt x="732" y="292172"/>
                      <a:pt x="1798" y="293126"/>
                    </a:cubicBezTo>
                    <a:lnTo>
                      <a:pt x="22156" y="311346"/>
                    </a:lnTo>
                    <a:cubicBezTo>
                      <a:pt x="23189" y="312267"/>
                      <a:pt x="24474" y="312721"/>
                      <a:pt x="25756" y="312721"/>
                    </a:cubicBezTo>
                    <a:cubicBezTo>
                      <a:pt x="27239" y="312721"/>
                      <a:pt x="28715" y="312112"/>
                      <a:pt x="29780" y="310921"/>
                    </a:cubicBezTo>
                    <a:lnTo>
                      <a:pt x="94667" y="238413"/>
                    </a:lnTo>
                    <a:cubicBezTo>
                      <a:pt x="95624" y="237344"/>
                      <a:pt x="96118" y="235936"/>
                      <a:pt x="96035" y="234500"/>
                    </a:cubicBezTo>
                    <a:cubicBezTo>
                      <a:pt x="95952" y="233071"/>
                      <a:pt x="95300" y="231724"/>
                      <a:pt x="94228" y="230774"/>
                    </a:cubicBezTo>
                    <a:lnTo>
                      <a:pt x="87838" y="225108"/>
                    </a:lnTo>
                    <a:lnTo>
                      <a:pt x="106450" y="203875"/>
                    </a:lnTo>
                    <a:cubicBezTo>
                      <a:pt x="126908" y="220424"/>
                      <a:pt x="152026" y="229305"/>
                      <a:pt x="178291" y="229305"/>
                    </a:cubicBezTo>
                    <a:cubicBezTo>
                      <a:pt x="180620" y="229305"/>
                      <a:pt x="182964" y="229233"/>
                      <a:pt x="185308" y="229093"/>
                    </a:cubicBezTo>
                    <a:cubicBezTo>
                      <a:pt x="215875" y="227257"/>
                      <a:pt x="243901" y="213631"/>
                      <a:pt x="264223" y="190720"/>
                    </a:cubicBezTo>
                    <a:cubicBezTo>
                      <a:pt x="284545" y="167810"/>
                      <a:pt x="294722" y="138362"/>
                      <a:pt x="292890" y="107791"/>
                    </a:cubicBezTo>
                    <a:close/>
                    <a:moveTo>
                      <a:pt x="25334" y="299696"/>
                    </a:moveTo>
                    <a:lnTo>
                      <a:pt x="13026" y="288680"/>
                    </a:lnTo>
                    <a:lnTo>
                      <a:pt x="70640" y="224298"/>
                    </a:lnTo>
                    <a:lnTo>
                      <a:pt x="83003" y="235260"/>
                    </a:lnTo>
                    <a:lnTo>
                      <a:pt x="25334" y="299696"/>
                    </a:lnTo>
                    <a:close/>
                    <a:moveTo>
                      <a:pt x="256141" y="183556"/>
                    </a:moveTo>
                    <a:cubicBezTo>
                      <a:pt x="237734" y="204310"/>
                      <a:pt x="212347" y="216651"/>
                      <a:pt x="184660" y="218311"/>
                    </a:cubicBezTo>
                    <a:cubicBezTo>
                      <a:pt x="156976" y="220017"/>
                      <a:pt x="130292" y="210747"/>
                      <a:pt x="109538" y="192344"/>
                    </a:cubicBezTo>
                    <a:cubicBezTo>
                      <a:pt x="66698" y="154346"/>
                      <a:pt x="62756" y="88578"/>
                      <a:pt x="100754" y="45738"/>
                    </a:cubicBezTo>
                    <a:cubicBezTo>
                      <a:pt x="119161" y="24984"/>
                      <a:pt x="144548" y="12643"/>
                      <a:pt x="172236" y="10983"/>
                    </a:cubicBezTo>
                    <a:cubicBezTo>
                      <a:pt x="174360" y="10854"/>
                      <a:pt x="176477" y="10792"/>
                      <a:pt x="178590" y="10792"/>
                    </a:cubicBezTo>
                    <a:cubicBezTo>
                      <a:pt x="203984" y="10792"/>
                      <a:pt x="228198" y="19958"/>
                      <a:pt x="247361" y="36954"/>
                    </a:cubicBezTo>
                    <a:cubicBezTo>
                      <a:pt x="268115" y="55360"/>
                      <a:pt x="280456" y="80748"/>
                      <a:pt x="282115" y="108435"/>
                    </a:cubicBezTo>
                    <a:cubicBezTo>
                      <a:pt x="283771" y="136126"/>
                      <a:pt x="274544" y="162806"/>
                      <a:pt x="256141" y="1835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2" name="Группа 62">
            <a:extLst>
              <a:ext uri="{FF2B5EF4-FFF2-40B4-BE49-F238E27FC236}">
                <a16:creationId xmlns:a16="http://schemas.microsoft.com/office/drawing/2014/main" xmlns="" id="{B84F5952-6316-411B-8DAB-B631E9329D39}"/>
              </a:ext>
            </a:extLst>
          </p:cNvPr>
          <p:cNvGrpSpPr/>
          <p:nvPr/>
        </p:nvGrpSpPr>
        <p:grpSpPr>
          <a:xfrm>
            <a:off x="1478514" y="3484184"/>
            <a:ext cx="550305" cy="550305"/>
            <a:chOff x="818055" y="3942146"/>
            <a:chExt cx="550305" cy="550305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xmlns="" id="{F2AD6C9B-AC44-4A71-9BFF-DBB3FFD6E688}"/>
                </a:ext>
              </a:extLst>
            </p:cNvPr>
            <p:cNvSpPr/>
            <p:nvPr/>
          </p:nvSpPr>
          <p:spPr>
            <a:xfrm>
              <a:off x="818055" y="39421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3" name="Рисунок 66">
              <a:extLst>
                <a:ext uri="{FF2B5EF4-FFF2-40B4-BE49-F238E27FC236}">
                  <a16:creationId xmlns:a16="http://schemas.microsoft.com/office/drawing/2014/main" xmlns="" id="{FBDC11E6-AA2A-4F51-B5B7-C0F124E51221}"/>
                </a:ext>
              </a:extLst>
            </p:cNvPr>
            <p:cNvGrpSpPr/>
            <p:nvPr/>
          </p:nvGrpSpPr>
          <p:grpSpPr>
            <a:xfrm>
              <a:off x="928426" y="4116355"/>
              <a:ext cx="326006" cy="200227"/>
              <a:chOff x="928426" y="4116355"/>
              <a:chExt cx="326006" cy="200227"/>
            </a:xfrm>
            <a:solidFill>
              <a:srgbClr val="000000"/>
            </a:solidFill>
          </p:grpSpPr>
          <p:sp>
            <p:nvSpPr>
              <p:cNvPr id="70" name="Рисунок 66">
                <a:extLst>
                  <a:ext uri="{FF2B5EF4-FFF2-40B4-BE49-F238E27FC236}">
                    <a16:creationId xmlns:a16="http://schemas.microsoft.com/office/drawing/2014/main" xmlns="" id="{7B2FA1AD-035F-42E0-9376-6226812D3195}"/>
                  </a:ext>
                </a:extLst>
              </p:cNvPr>
              <p:cNvSpPr/>
              <p:nvPr/>
            </p:nvSpPr>
            <p:spPr>
              <a:xfrm>
                <a:off x="928426" y="4116355"/>
                <a:ext cx="326006" cy="200227"/>
              </a:xfrm>
              <a:custGeom>
                <a:avLst/>
                <a:gdLst>
                  <a:gd name="connsiteX0" fmla="*/ 320657 w 326006"/>
                  <a:gd name="connsiteY0" fmla="*/ 103438 h 200227"/>
                  <a:gd name="connsiteX1" fmla="*/ 220901 w 326006"/>
                  <a:gd name="connsiteY1" fmla="*/ 103438 h 200227"/>
                  <a:gd name="connsiteX2" fmla="*/ 220901 w 326006"/>
                  <a:gd name="connsiteY2" fmla="*/ 5347 h 200227"/>
                  <a:gd name="connsiteX3" fmla="*/ 215554 w 326006"/>
                  <a:gd name="connsiteY3" fmla="*/ 0 h 200227"/>
                  <a:gd name="connsiteX4" fmla="*/ 110449 w 326006"/>
                  <a:gd name="connsiteY4" fmla="*/ 0 h 200227"/>
                  <a:gd name="connsiteX5" fmla="*/ 105102 w 326006"/>
                  <a:gd name="connsiteY5" fmla="*/ 5347 h 200227"/>
                  <a:gd name="connsiteX6" fmla="*/ 105102 w 326006"/>
                  <a:gd name="connsiteY6" fmla="*/ 63178 h 200227"/>
                  <a:gd name="connsiteX7" fmla="*/ 5347 w 326006"/>
                  <a:gd name="connsiteY7" fmla="*/ 63178 h 200227"/>
                  <a:gd name="connsiteX8" fmla="*/ 0 w 326006"/>
                  <a:gd name="connsiteY8" fmla="*/ 68525 h 200227"/>
                  <a:gd name="connsiteX9" fmla="*/ 0 w 326006"/>
                  <a:gd name="connsiteY9" fmla="*/ 194881 h 200227"/>
                  <a:gd name="connsiteX10" fmla="*/ 5347 w 326006"/>
                  <a:gd name="connsiteY10" fmla="*/ 200228 h 200227"/>
                  <a:gd name="connsiteX11" fmla="*/ 320660 w 326006"/>
                  <a:gd name="connsiteY11" fmla="*/ 200228 h 200227"/>
                  <a:gd name="connsiteX12" fmla="*/ 326007 w 326006"/>
                  <a:gd name="connsiteY12" fmla="*/ 194881 h 200227"/>
                  <a:gd name="connsiteX13" fmla="*/ 326007 w 326006"/>
                  <a:gd name="connsiteY13" fmla="*/ 108784 h 200227"/>
                  <a:gd name="connsiteX14" fmla="*/ 320657 w 326006"/>
                  <a:gd name="connsiteY14" fmla="*/ 103438 h 200227"/>
                  <a:gd name="connsiteX15" fmla="*/ 315310 w 326006"/>
                  <a:gd name="connsiteY15" fmla="*/ 189535 h 200227"/>
                  <a:gd name="connsiteX16" fmla="*/ 10690 w 326006"/>
                  <a:gd name="connsiteY16" fmla="*/ 189535 h 200227"/>
                  <a:gd name="connsiteX17" fmla="*/ 10690 w 326006"/>
                  <a:gd name="connsiteY17" fmla="*/ 73871 h 200227"/>
                  <a:gd name="connsiteX18" fmla="*/ 110445 w 326006"/>
                  <a:gd name="connsiteY18" fmla="*/ 73871 h 200227"/>
                  <a:gd name="connsiteX19" fmla="*/ 115792 w 326006"/>
                  <a:gd name="connsiteY19" fmla="*/ 68525 h 200227"/>
                  <a:gd name="connsiteX20" fmla="*/ 115792 w 326006"/>
                  <a:gd name="connsiteY20" fmla="*/ 10693 h 200227"/>
                  <a:gd name="connsiteX21" fmla="*/ 210204 w 326006"/>
                  <a:gd name="connsiteY21" fmla="*/ 10693 h 200227"/>
                  <a:gd name="connsiteX22" fmla="*/ 210204 w 326006"/>
                  <a:gd name="connsiteY22" fmla="*/ 108784 h 200227"/>
                  <a:gd name="connsiteX23" fmla="*/ 215551 w 326006"/>
                  <a:gd name="connsiteY23" fmla="*/ 114131 h 200227"/>
                  <a:gd name="connsiteX24" fmla="*/ 315307 w 326006"/>
                  <a:gd name="connsiteY24" fmla="*/ 114131 h 200227"/>
                  <a:gd name="connsiteX25" fmla="*/ 315307 w 326006"/>
                  <a:gd name="connsiteY25" fmla="*/ 189535 h 200227"/>
                  <a:gd name="connsiteX26" fmla="*/ 315310 w 326006"/>
                  <a:gd name="connsiteY26" fmla="*/ 189535 h 20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6006" h="200227">
                    <a:moveTo>
                      <a:pt x="320657" y="103438"/>
                    </a:moveTo>
                    <a:lnTo>
                      <a:pt x="220901" y="103438"/>
                    </a:lnTo>
                    <a:lnTo>
                      <a:pt x="220901" y="5347"/>
                    </a:lnTo>
                    <a:cubicBezTo>
                      <a:pt x="220901" y="2392"/>
                      <a:pt x="218506" y="0"/>
                      <a:pt x="215554" y="0"/>
                    </a:cubicBezTo>
                    <a:lnTo>
                      <a:pt x="110449" y="0"/>
                    </a:lnTo>
                    <a:cubicBezTo>
                      <a:pt x="107497" y="0"/>
                      <a:pt x="105102" y="2392"/>
                      <a:pt x="105102" y="5347"/>
                    </a:cubicBezTo>
                    <a:lnTo>
                      <a:pt x="105102" y="63178"/>
                    </a:lnTo>
                    <a:lnTo>
                      <a:pt x="5347" y="63178"/>
                    </a:lnTo>
                    <a:cubicBezTo>
                      <a:pt x="2395" y="63178"/>
                      <a:pt x="0" y="65570"/>
                      <a:pt x="0" y="68525"/>
                    </a:cubicBezTo>
                    <a:lnTo>
                      <a:pt x="0" y="194881"/>
                    </a:lnTo>
                    <a:cubicBezTo>
                      <a:pt x="0" y="197832"/>
                      <a:pt x="2395" y="200228"/>
                      <a:pt x="5347" y="200228"/>
                    </a:cubicBezTo>
                    <a:lnTo>
                      <a:pt x="320660" y="200228"/>
                    </a:lnTo>
                    <a:cubicBezTo>
                      <a:pt x="323611" y="200228"/>
                      <a:pt x="326007" y="197832"/>
                      <a:pt x="326007" y="194881"/>
                    </a:cubicBezTo>
                    <a:lnTo>
                      <a:pt x="326007" y="108784"/>
                    </a:lnTo>
                    <a:cubicBezTo>
                      <a:pt x="326003" y="105833"/>
                      <a:pt x="323608" y="103438"/>
                      <a:pt x="320657" y="103438"/>
                    </a:cubicBezTo>
                    <a:close/>
                    <a:moveTo>
                      <a:pt x="315310" y="189535"/>
                    </a:moveTo>
                    <a:lnTo>
                      <a:pt x="10690" y="189535"/>
                    </a:lnTo>
                    <a:lnTo>
                      <a:pt x="10690" y="73871"/>
                    </a:lnTo>
                    <a:lnTo>
                      <a:pt x="110445" y="73871"/>
                    </a:lnTo>
                    <a:cubicBezTo>
                      <a:pt x="113396" y="73871"/>
                      <a:pt x="115792" y="71480"/>
                      <a:pt x="115792" y="68525"/>
                    </a:cubicBezTo>
                    <a:lnTo>
                      <a:pt x="115792" y="10693"/>
                    </a:lnTo>
                    <a:lnTo>
                      <a:pt x="210204" y="10693"/>
                    </a:lnTo>
                    <a:lnTo>
                      <a:pt x="210204" y="108784"/>
                    </a:lnTo>
                    <a:cubicBezTo>
                      <a:pt x="210204" y="111739"/>
                      <a:pt x="212600" y="114131"/>
                      <a:pt x="215551" y="114131"/>
                    </a:cubicBezTo>
                    <a:lnTo>
                      <a:pt x="315307" y="114131"/>
                    </a:lnTo>
                    <a:lnTo>
                      <a:pt x="315307" y="189535"/>
                    </a:lnTo>
                    <a:lnTo>
                      <a:pt x="315310" y="189535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Рисунок 66">
                <a:extLst>
                  <a:ext uri="{FF2B5EF4-FFF2-40B4-BE49-F238E27FC236}">
                    <a16:creationId xmlns:a16="http://schemas.microsoft.com/office/drawing/2014/main" xmlns="" id="{4617668E-8498-483C-9E73-6CBE6ACAF0E9}"/>
                  </a:ext>
                </a:extLst>
              </p:cNvPr>
              <p:cNvSpPr/>
              <p:nvPr/>
            </p:nvSpPr>
            <p:spPr>
              <a:xfrm>
                <a:off x="976114" y="4213694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Рисунок 66">
                <a:extLst>
                  <a:ext uri="{FF2B5EF4-FFF2-40B4-BE49-F238E27FC236}">
                    <a16:creationId xmlns:a16="http://schemas.microsoft.com/office/drawing/2014/main" xmlns="" id="{9C102F2B-1276-4529-9EA3-88FBB478DE1E}"/>
                  </a:ext>
                </a:extLst>
              </p:cNvPr>
              <p:cNvSpPr/>
              <p:nvPr/>
            </p:nvSpPr>
            <p:spPr>
              <a:xfrm>
                <a:off x="1083037" y="4149981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Рисунок 66">
                <a:extLst>
                  <a:ext uri="{FF2B5EF4-FFF2-40B4-BE49-F238E27FC236}">
                    <a16:creationId xmlns:a16="http://schemas.microsoft.com/office/drawing/2014/main" xmlns="" id="{84A0EED3-8D11-4E0D-B7B7-CB9780226AC9}"/>
                  </a:ext>
                </a:extLst>
              </p:cNvPr>
              <p:cNvSpPr/>
              <p:nvPr/>
            </p:nvSpPr>
            <p:spPr>
              <a:xfrm>
                <a:off x="1191750" y="4253665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34" name="Группа 73">
            <a:extLst>
              <a:ext uri="{FF2B5EF4-FFF2-40B4-BE49-F238E27FC236}">
                <a16:creationId xmlns:a16="http://schemas.microsoft.com/office/drawing/2014/main" xmlns="" id="{02009106-27A6-454F-BD66-4876545E2AF4}"/>
              </a:ext>
            </a:extLst>
          </p:cNvPr>
          <p:cNvGrpSpPr/>
          <p:nvPr/>
        </p:nvGrpSpPr>
        <p:grpSpPr>
          <a:xfrm>
            <a:off x="1272219" y="2456649"/>
            <a:ext cx="550305" cy="550305"/>
            <a:chOff x="1729142" y="2873137"/>
            <a:chExt cx="550305" cy="550305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xmlns="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5" name="Группа 90">
              <a:extLst>
                <a:ext uri="{FF2B5EF4-FFF2-40B4-BE49-F238E27FC236}">
                  <a16:creationId xmlns:a16="http://schemas.microsoft.com/office/drawing/2014/main" xmlns="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92" name="Рисунок 61">
                <a:extLst>
                  <a:ext uri="{FF2B5EF4-FFF2-40B4-BE49-F238E27FC236}">
                    <a16:creationId xmlns:a16="http://schemas.microsoft.com/office/drawing/2014/main" xmlns="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Рисунок 61">
                <a:extLst>
                  <a:ext uri="{FF2B5EF4-FFF2-40B4-BE49-F238E27FC236}">
                    <a16:creationId xmlns:a16="http://schemas.microsoft.com/office/drawing/2014/main" xmlns="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Рисунок 61">
                <a:extLst>
                  <a:ext uri="{FF2B5EF4-FFF2-40B4-BE49-F238E27FC236}">
                    <a16:creationId xmlns:a16="http://schemas.microsoft.com/office/drawing/2014/main" xmlns="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Рисунок 61">
                <a:extLst>
                  <a:ext uri="{FF2B5EF4-FFF2-40B4-BE49-F238E27FC236}">
                    <a16:creationId xmlns:a16="http://schemas.microsoft.com/office/drawing/2014/main" xmlns="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Рисунок 61">
                <a:extLst>
                  <a:ext uri="{FF2B5EF4-FFF2-40B4-BE49-F238E27FC236}">
                    <a16:creationId xmlns:a16="http://schemas.microsoft.com/office/drawing/2014/main" xmlns="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Рисунок 61">
                <a:extLst>
                  <a:ext uri="{FF2B5EF4-FFF2-40B4-BE49-F238E27FC236}">
                    <a16:creationId xmlns:a16="http://schemas.microsoft.com/office/drawing/2014/main" xmlns="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Рисунок 61">
                <a:extLst>
                  <a:ext uri="{FF2B5EF4-FFF2-40B4-BE49-F238E27FC236}">
                    <a16:creationId xmlns:a16="http://schemas.microsoft.com/office/drawing/2014/main" xmlns="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Рисунок 61">
                <a:extLst>
                  <a:ext uri="{FF2B5EF4-FFF2-40B4-BE49-F238E27FC236}">
                    <a16:creationId xmlns:a16="http://schemas.microsoft.com/office/drawing/2014/main" xmlns="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Рисунок 61">
                <a:extLst>
                  <a:ext uri="{FF2B5EF4-FFF2-40B4-BE49-F238E27FC236}">
                    <a16:creationId xmlns:a16="http://schemas.microsoft.com/office/drawing/2014/main" xmlns="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Рисунок 61">
                <a:extLst>
                  <a:ext uri="{FF2B5EF4-FFF2-40B4-BE49-F238E27FC236}">
                    <a16:creationId xmlns:a16="http://schemas.microsoft.com/office/drawing/2014/main" xmlns="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Рисунок 61">
                <a:extLst>
                  <a:ext uri="{FF2B5EF4-FFF2-40B4-BE49-F238E27FC236}">
                    <a16:creationId xmlns:a16="http://schemas.microsoft.com/office/drawing/2014/main" xmlns="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Рисунок 61">
                <a:extLst>
                  <a:ext uri="{FF2B5EF4-FFF2-40B4-BE49-F238E27FC236}">
                    <a16:creationId xmlns:a16="http://schemas.microsoft.com/office/drawing/2014/main" xmlns="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Рисунок 61">
                <a:extLst>
                  <a:ext uri="{FF2B5EF4-FFF2-40B4-BE49-F238E27FC236}">
                    <a16:creationId xmlns:a16="http://schemas.microsoft.com/office/drawing/2014/main" xmlns="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Рисунок 61">
                <a:extLst>
                  <a:ext uri="{FF2B5EF4-FFF2-40B4-BE49-F238E27FC236}">
                    <a16:creationId xmlns:a16="http://schemas.microsoft.com/office/drawing/2014/main" xmlns="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29137338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0">
            <a:extLst>
              <a:ext uri="{FF2B5EF4-FFF2-40B4-BE49-F238E27FC236}">
                <a16:creationId xmlns:a16="http://schemas.microsoft.com/office/drawing/2014/main" xmlns="" id="{43E85B44-3994-4777-BDEB-EE6575D2FBEA}"/>
              </a:ext>
            </a:extLst>
          </p:cNvPr>
          <p:cNvGrpSpPr/>
          <p:nvPr/>
        </p:nvGrpSpPr>
        <p:grpSpPr>
          <a:xfrm>
            <a:off x="4357993" y="1750306"/>
            <a:ext cx="7529206" cy="3357388"/>
            <a:chOff x="4501769" y="1884592"/>
            <a:chExt cx="3921275" cy="3357388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xmlns="" id="{AE1A29E6-66AA-4BF9-B2BE-97DAF4DE3D6A}"/>
                </a:ext>
              </a:extLst>
            </p:cNvPr>
            <p:cNvSpPr/>
            <p:nvPr/>
          </p:nvSpPr>
          <p:spPr>
            <a:xfrm>
              <a:off x="4501769" y="2076299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B964687F-88A4-4679-9710-D2EBC1F6CF33}"/>
                </a:ext>
              </a:extLst>
            </p:cNvPr>
            <p:cNvSpPr/>
            <p:nvPr/>
          </p:nvSpPr>
          <p:spPr>
            <a:xfrm>
              <a:off x="4776258" y="1884592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/>
                <a:t>Установочные встречи – информирование и мотивация школьников к участию в Инженерной школе УГМК. </a:t>
              </a:r>
              <a:r>
                <a:rPr lang="ru-RU" sz="1400" b="1" dirty="0">
                  <a:solidFill>
                    <a:srgbClr val="FF0000"/>
                  </a:solidFill>
                </a:rPr>
                <a:t>Количество участников – НЕ ОГРАНИЧЕНО</a:t>
              </a:r>
              <a:endParaRPr lang="ru-RU" sz="1400" b="1" kern="1200" dirty="0">
                <a:solidFill>
                  <a:srgbClr val="FF0000"/>
                </a:solidFill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077E102F-40B3-4634-80A2-7229461CA2D6}"/>
                </a:ext>
              </a:extLst>
            </p:cNvPr>
            <p:cNvSpPr/>
            <p:nvPr/>
          </p:nvSpPr>
          <p:spPr>
            <a:xfrm>
              <a:off x="4501769" y="2747776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7FD79536-DD0C-4210-A4D5-31716727A343}"/>
                </a:ext>
              </a:extLst>
            </p:cNvPr>
            <p:cNvSpPr/>
            <p:nvPr/>
          </p:nvSpPr>
          <p:spPr>
            <a:xfrm>
              <a:off x="4776258" y="2556069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Продолжительность установочных встреч – 30-60 минут, формат – онлайн, кол-во – 10-15 по регионам в двух возрастных группах (7-8 и 9-10 классы)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6364633A-97F2-4A2B-A94B-BF93B63FC67C}"/>
                </a:ext>
              </a:extLst>
            </p:cNvPr>
            <p:cNvSpPr/>
            <p:nvPr/>
          </p:nvSpPr>
          <p:spPr>
            <a:xfrm>
              <a:off x="4501769" y="3419254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xmlns="" id="{0E7F9DD8-C22E-4EE4-AEDD-F459748F5E15}"/>
                </a:ext>
              </a:extLst>
            </p:cNvPr>
            <p:cNvSpPr/>
            <p:nvPr/>
          </p:nvSpPr>
          <p:spPr>
            <a:xfrm>
              <a:off x="4776258" y="3227547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/>
                <a:t>Вводный курс «Введение в профессию инженера» – знакомство с инженерно-технической деятельностью УГМК; пробные занятия по математике, физике, химии; подготовка к конкурсному отбору</a:t>
              </a:r>
              <a:endParaRPr lang="ru-RU" sz="1400" kern="1200" dirty="0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64EBDBF9-1713-4691-A9F7-131D5F0D068D}"/>
                </a:ext>
              </a:extLst>
            </p:cNvPr>
            <p:cNvSpPr/>
            <p:nvPr/>
          </p:nvSpPr>
          <p:spPr>
            <a:xfrm>
              <a:off x="4501769" y="4090732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2179B3C1-918C-4FF9-AB50-AFBA00A6BDA5}"/>
                </a:ext>
              </a:extLst>
            </p:cNvPr>
            <p:cNvSpPr/>
            <p:nvPr/>
          </p:nvSpPr>
          <p:spPr>
            <a:xfrm>
              <a:off x="4776258" y="3899025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Кол-во занятий – 6 по 1,5 часа, формат - онлайн</a:t>
              </a: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1C19D0A7-23E8-49E1-8B95-3EE7E493B7BF}"/>
                </a:ext>
              </a:extLst>
            </p:cNvPr>
            <p:cNvSpPr/>
            <p:nvPr/>
          </p:nvSpPr>
          <p:spPr>
            <a:xfrm>
              <a:off x="4501769" y="4762210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xmlns="" id="{E35CFEDB-AD72-4BCB-814C-ABA303DFB1DD}"/>
                </a:ext>
              </a:extLst>
            </p:cNvPr>
            <p:cNvSpPr/>
            <p:nvPr/>
          </p:nvSpPr>
          <p:spPr>
            <a:xfrm>
              <a:off x="4776258" y="4570503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Принять участие может любой школьник 7-11 классов из муниципалитетов, входящих в программу</a:t>
              </a:r>
            </a:p>
          </p:txBody>
        </p:sp>
      </p:grp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xmlns="" id="{C13F0320-83BC-41DA-B18E-5842C0387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354" y="402822"/>
            <a:ext cx="2328514" cy="1329595"/>
          </a:xfrm>
        </p:spPr>
        <p:txBody>
          <a:bodyPr/>
          <a:lstStyle/>
          <a:p>
            <a:r>
              <a:rPr lang="ru-RU" dirty="0"/>
              <a:t>Установочные встречи и вводный курс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xmlns="" id="{555DB8C7-30D0-4AB1-BD86-C9267B8E1E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xmlns="" id="{4FBB9223-B74A-42AE-B29E-DE411B1EE8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106516297"/>
              </p:ext>
            </p:extLst>
          </p:nvPr>
        </p:nvGraphicFramePr>
        <p:xfrm>
          <a:off x="350196" y="1290536"/>
          <a:ext cx="2665378" cy="4847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6324338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0">
            <a:extLst>
              <a:ext uri="{FF2B5EF4-FFF2-40B4-BE49-F238E27FC236}">
                <a16:creationId xmlns:a16="http://schemas.microsoft.com/office/drawing/2014/main" xmlns="" id="{43E85B44-3994-4777-BDEB-EE6575D2FBEA}"/>
              </a:ext>
            </a:extLst>
          </p:cNvPr>
          <p:cNvGrpSpPr/>
          <p:nvPr/>
        </p:nvGrpSpPr>
        <p:grpSpPr>
          <a:xfrm>
            <a:off x="4357993" y="1069082"/>
            <a:ext cx="7529206" cy="3357388"/>
            <a:chOff x="4501769" y="1884592"/>
            <a:chExt cx="3921275" cy="3357388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xmlns="" id="{AE1A29E6-66AA-4BF9-B2BE-97DAF4DE3D6A}"/>
                </a:ext>
              </a:extLst>
            </p:cNvPr>
            <p:cNvSpPr/>
            <p:nvPr/>
          </p:nvSpPr>
          <p:spPr>
            <a:xfrm>
              <a:off x="4501769" y="2076299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xmlns="" id="{B964687F-88A4-4679-9710-D2EBC1F6CF33}"/>
                </a:ext>
              </a:extLst>
            </p:cNvPr>
            <p:cNvSpPr/>
            <p:nvPr/>
          </p:nvSpPr>
          <p:spPr>
            <a:xfrm>
              <a:off x="4776258" y="1884592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Принять участие может любой школьник </a:t>
              </a:r>
              <a:r>
                <a:rPr lang="ru-RU" sz="1400" kern="1200" dirty="0" smtClean="0"/>
                <a:t>7-10 </a:t>
              </a:r>
              <a:r>
                <a:rPr lang="ru-RU" sz="1400" kern="1200" dirty="0"/>
                <a:t>классов из муниципалитетов, входящих в программу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077E102F-40B3-4634-80A2-7229461CA2D6}"/>
                </a:ext>
              </a:extLst>
            </p:cNvPr>
            <p:cNvSpPr/>
            <p:nvPr/>
          </p:nvSpPr>
          <p:spPr>
            <a:xfrm>
              <a:off x="4501769" y="2747776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xmlns="" id="{7FD79536-DD0C-4210-A4D5-31716727A343}"/>
                </a:ext>
              </a:extLst>
            </p:cNvPr>
            <p:cNvSpPr/>
            <p:nvPr/>
          </p:nvSpPr>
          <p:spPr>
            <a:xfrm>
              <a:off x="4776258" y="2556069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Отбор осуществляется по прозрачным критериям (указаны ниже)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6364633A-97F2-4A2B-A94B-BF93B63FC67C}"/>
                </a:ext>
              </a:extLst>
            </p:cNvPr>
            <p:cNvSpPr/>
            <p:nvPr/>
          </p:nvSpPr>
          <p:spPr>
            <a:xfrm>
              <a:off x="4501769" y="3419254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xmlns="" id="{0E7F9DD8-C22E-4EE4-AEDD-F459748F5E15}"/>
                </a:ext>
              </a:extLst>
            </p:cNvPr>
            <p:cNvSpPr/>
            <p:nvPr/>
          </p:nvSpPr>
          <p:spPr>
            <a:xfrm>
              <a:off x="4776258" y="3227547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К зачислению рекомендуются конкурсанты, набравшие наибольшее кол-во баллов в соответствии с квотами по муниципалитетам и классу обучения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64EBDBF9-1713-4691-A9F7-131D5F0D068D}"/>
                </a:ext>
              </a:extLst>
            </p:cNvPr>
            <p:cNvSpPr/>
            <p:nvPr/>
          </p:nvSpPr>
          <p:spPr>
            <a:xfrm>
              <a:off x="4501769" y="4090732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xmlns="" id="{2179B3C1-918C-4FF9-AB50-AFBA00A6BDA5}"/>
                </a:ext>
              </a:extLst>
            </p:cNvPr>
            <p:cNvSpPr/>
            <p:nvPr/>
          </p:nvSpPr>
          <p:spPr>
            <a:xfrm>
              <a:off x="4776258" y="3899025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Если школьник отказывается от участия в программе – приглашается следующий в ранжированном списке по баллам</a:t>
              </a: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1C19D0A7-23E8-49E1-8B95-3EE7E493B7BF}"/>
                </a:ext>
              </a:extLst>
            </p:cNvPr>
            <p:cNvSpPr/>
            <p:nvPr/>
          </p:nvSpPr>
          <p:spPr>
            <a:xfrm>
              <a:off x="4501769" y="4762210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xmlns="" id="{E35CFEDB-AD72-4BCB-814C-ABA303DFB1DD}"/>
                </a:ext>
              </a:extLst>
            </p:cNvPr>
            <p:cNvSpPr/>
            <p:nvPr/>
          </p:nvSpPr>
          <p:spPr>
            <a:xfrm>
              <a:off x="4776258" y="4570503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Все детали конкурсного отбора будут описаны в Положении о программе</a:t>
              </a:r>
            </a:p>
          </p:txBody>
        </p:sp>
      </p:grpSp>
      <p:sp>
        <p:nvSpPr>
          <p:cNvPr id="16" name="Заголовок 15">
            <a:extLst>
              <a:ext uri="{FF2B5EF4-FFF2-40B4-BE49-F238E27FC236}">
                <a16:creationId xmlns:a16="http://schemas.microsoft.com/office/drawing/2014/main" xmlns="" id="{C13F0320-83BC-41DA-B18E-5842C0387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2018961" cy="664797"/>
          </a:xfrm>
        </p:spPr>
        <p:txBody>
          <a:bodyPr/>
          <a:lstStyle/>
          <a:p>
            <a:r>
              <a:rPr lang="ru-RU" dirty="0"/>
              <a:t>Конкурсный отбор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xmlns="" id="{555DB8C7-30D0-4AB1-BD86-C9267B8E1E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xmlns="" id="{E29FAEA2-6487-4238-82A9-0B76F95E43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4988628"/>
              </p:ext>
            </p:extLst>
          </p:nvPr>
        </p:nvGraphicFramePr>
        <p:xfrm>
          <a:off x="4357991" y="4624198"/>
          <a:ext cx="7529208" cy="1369949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6120599">
                  <a:extLst>
                    <a:ext uri="{9D8B030D-6E8A-4147-A177-3AD203B41FA5}">
                      <a16:colId xmlns:a16="http://schemas.microsoft.com/office/drawing/2014/main" xmlns="" val="3327336633"/>
                    </a:ext>
                  </a:extLst>
                </a:gridCol>
                <a:gridCol w="1408609">
                  <a:extLst>
                    <a:ext uri="{9D8B030D-6E8A-4147-A177-3AD203B41FA5}">
                      <a16:colId xmlns:a16="http://schemas.microsoft.com/office/drawing/2014/main" xmlns="" val="20413543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Критерий конкурсного отбора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Кол-во баллов </a:t>
                      </a:r>
                      <a:r>
                        <a:rPr lang="en-US" sz="1200" dirty="0">
                          <a:effectLst/>
                        </a:rPr>
                        <a:t>max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466000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0" dirty="0">
                          <a:effectLst/>
                        </a:rPr>
                        <a:t>Количество баллов за прохождение предметного тестирования по математике и физике. Уровень тестов соответствует общеобразовательной программе базового уровня за 7,8,9,10 классы</a:t>
                      </a:r>
                      <a:endParaRPr lang="ru-RU" sz="105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30</a:t>
                      </a:r>
                      <a:endParaRPr lang="ru-RU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2880444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0" dirty="0">
                          <a:effectLst/>
                        </a:rPr>
                        <a:t>Количество баллов за написание мотивационного эссе</a:t>
                      </a:r>
                      <a:endParaRPr lang="ru-RU" sz="105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712470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Итого максимальное количество баллов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35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575671513"/>
                  </a:ext>
                </a:extLst>
              </a:tr>
            </a:tbl>
          </a:graphicData>
        </a:graphic>
      </p:graphicFrame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xmlns="" id="{4FBB9223-B74A-42AE-B29E-DE411B1EE8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846564611"/>
              </p:ext>
            </p:extLst>
          </p:nvPr>
        </p:nvGraphicFramePr>
        <p:xfrm>
          <a:off x="350196" y="1290536"/>
          <a:ext cx="2665378" cy="48477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469877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0886F3-728C-4105-A12B-0D39DA156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573" y="3084351"/>
            <a:ext cx="2018961" cy="664797"/>
          </a:xfrm>
        </p:spPr>
        <p:txBody>
          <a:bodyPr/>
          <a:lstStyle/>
          <a:p>
            <a:r>
              <a:rPr lang="ru-RU" dirty="0"/>
              <a:t>Призыв к действию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7349665B-B2F2-4B9B-ADF2-24731C7F15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B8AEE321-13E0-43E4-91F4-7E36F5E6B054}"/>
              </a:ext>
            </a:extLst>
          </p:cNvPr>
          <p:cNvGrpSpPr/>
          <p:nvPr/>
        </p:nvGrpSpPr>
        <p:grpSpPr>
          <a:xfrm>
            <a:off x="4357993" y="1414567"/>
            <a:ext cx="7529206" cy="2014432"/>
            <a:chOff x="4501769" y="1884592"/>
            <a:chExt cx="3921275" cy="2014432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D0EAB3DC-1203-4A06-B3B6-C13CDA1D25A6}"/>
                </a:ext>
              </a:extLst>
            </p:cNvPr>
            <p:cNvSpPr/>
            <p:nvPr/>
          </p:nvSpPr>
          <p:spPr>
            <a:xfrm>
              <a:off x="4501769" y="2076299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xmlns="" id="{933D2A02-229B-4CAC-8D1D-87A990D3E8CE}"/>
                </a:ext>
              </a:extLst>
            </p:cNvPr>
            <p:cNvSpPr/>
            <p:nvPr/>
          </p:nvSpPr>
          <p:spPr>
            <a:xfrm>
              <a:off x="4776258" y="1884592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kern="1200" dirty="0"/>
                <a:t>Проинформировать школьников 7-10 классов </a:t>
              </a:r>
              <a:r>
                <a:rPr lang="ru-RU" sz="1400" dirty="0" smtClean="0"/>
                <a:t>о </a:t>
              </a:r>
              <a:r>
                <a:rPr lang="ru-RU" sz="1400" dirty="0"/>
                <a:t>возможности участия в Инженерной школе УГМК</a:t>
              </a:r>
              <a:endParaRPr lang="ru-RU" sz="1400" kern="1200" dirty="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D39B9C7C-E350-42BB-BB8A-1590C0F6D972}"/>
                </a:ext>
              </a:extLst>
            </p:cNvPr>
            <p:cNvSpPr/>
            <p:nvPr/>
          </p:nvSpPr>
          <p:spPr>
            <a:xfrm>
              <a:off x="4501769" y="2747776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xmlns="" id="{04FFA7DB-6A27-43D2-9AA6-652698B69D0C}"/>
                </a:ext>
              </a:extLst>
            </p:cNvPr>
            <p:cNvSpPr/>
            <p:nvPr/>
          </p:nvSpPr>
          <p:spPr>
            <a:xfrm>
              <a:off x="4776258" y="2556069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b="1" kern="1200" dirty="0">
                  <a:solidFill>
                    <a:srgbClr val="FF0000"/>
                  </a:solidFill>
                </a:rPr>
                <a:t>Привлечь заинтересованных школьников к участию в установочных встречах 13-22 декабря в максимально возможном количестве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CFF7E938-DD7E-487E-B7B4-12FD85046A4D}"/>
                </a:ext>
              </a:extLst>
            </p:cNvPr>
            <p:cNvSpPr/>
            <p:nvPr/>
          </p:nvSpPr>
          <p:spPr>
            <a:xfrm>
              <a:off x="4501769" y="3419254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xmlns="" id="{AE1E5A94-BF7B-47CF-9B1C-0C37A4E4A014}"/>
                </a:ext>
              </a:extLst>
            </p:cNvPr>
            <p:cNvSpPr/>
            <p:nvPr/>
          </p:nvSpPr>
          <p:spPr>
            <a:xfrm>
              <a:off x="4776258" y="3227547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dirty="0"/>
                <a:t>Школам, привлекшим наибольшее количество школьников к участию в отборе – предусмотрены бонусы в рамках мотивационной программы</a:t>
              </a:r>
              <a:endParaRPr lang="ru-RU" sz="1400" kern="1200" dirty="0"/>
            </a:p>
          </p:txBody>
        </p:sp>
      </p:grpSp>
      <p:grpSp>
        <p:nvGrpSpPr>
          <p:cNvPr id="11" name="Группа 14">
            <a:extLst>
              <a:ext uri="{FF2B5EF4-FFF2-40B4-BE49-F238E27FC236}">
                <a16:creationId xmlns:a16="http://schemas.microsoft.com/office/drawing/2014/main" xmlns="" id="{E9ACFCAD-2873-44A7-89FC-64EEDD85F600}"/>
              </a:ext>
            </a:extLst>
          </p:cNvPr>
          <p:cNvGrpSpPr/>
          <p:nvPr/>
        </p:nvGrpSpPr>
        <p:grpSpPr>
          <a:xfrm>
            <a:off x="4357993" y="4097372"/>
            <a:ext cx="7529206" cy="2014433"/>
            <a:chOff x="4501769" y="2556069"/>
            <a:chExt cx="3921275" cy="2014433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xmlns="" id="{41894A88-B82D-49F9-A704-B10F05D951DD}"/>
                </a:ext>
              </a:extLst>
            </p:cNvPr>
            <p:cNvSpPr/>
            <p:nvPr/>
          </p:nvSpPr>
          <p:spPr>
            <a:xfrm>
              <a:off x="4501769" y="2747776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xmlns="" id="{110E98D2-9DF0-4211-971F-54E73752320B}"/>
                </a:ext>
              </a:extLst>
            </p:cNvPr>
            <p:cNvSpPr/>
            <p:nvPr/>
          </p:nvSpPr>
          <p:spPr>
            <a:xfrm>
              <a:off x="4776258" y="2556069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i="1" dirty="0" smtClean="0"/>
                <a:t>З</a:t>
              </a:r>
              <a:r>
                <a:rPr lang="ru-RU" sz="1400" i="1" kern="1200" dirty="0" smtClean="0"/>
                <a:t>апущена </a:t>
              </a:r>
              <a:r>
                <a:rPr lang="ru-RU" sz="1400" i="1" kern="1200" dirty="0"/>
                <a:t>интернет-страница Инженерной школы УГМК (регистрация и основная информация о программе</a:t>
              </a:r>
              <a:r>
                <a:rPr lang="ru-RU" sz="1400" i="1" kern="1200" dirty="0" smtClean="0"/>
                <a:t>) </a:t>
              </a:r>
              <a:r>
                <a:rPr lang="ru-RU" sz="1400" i="1" u="sng" dirty="0" err="1" smtClean="0">
                  <a:hlinkClick r:id="rId2"/>
                </a:rPr>
                <a:t>www.school.ugmk.com</a:t>
              </a:r>
              <a:endParaRPr lang="ru-RU" sz="1400" i="1" kern="1200" dirty="0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2BDDF14F-D4AB-4353-9CB0-6B77C0CE4A1A}"/>
                </a:ext>
              </a:extLst>
            </p:cNvPr>
            <p:cNvSpPr/>
            <p:nvPr/>
          </p:nvSpPr>
          <p:spPr>
            <a:xfrm>
              <a:off x="4501769" y="3419254"/>
              <a:ext cx="288064" cy="288064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xmlns="" id="{2BE0FE36-136E-4AC1-B848-0BC2ADF6D6EC}"/>
                </a:ext>
              </a:extLst>
            </p:cNvPr>
            <p:cNvSpPr/>
            <p:nvPr/>
          </p:nvSpPr>
          <p:spPr>
            <a:xfrm>
              <a:off x="4776258" y="3227547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400" i="1" kern="1200" dirty="0" smtClean="0"/>
                <a:t>Распространить информационные материалы </a:t>
              </a:r>
              <a:r>
                <a:rPr lang="ru-RU" sz="1400" i="1" dirty="0" smtClean="0"/>
                <a:t>среди обучающихся и родителей, а также на сайтах образовательных организаций и в родительских чатах</a:t>
              </a:r>
              <a:endParaRPr lang="ru-RU" sz="1400" i="1" kern="1200" dirty="0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xmlns="" id="{28F60035-42BD-4949-87F2-53463370AA01}"/>
                </a:ext>
              </a:extLst>
            </p:cNvPr>
            <p:cNvSpPr/>
            <p:nvPr/>
          </p:nvSpPr>
          <p:spPr>
            <a:xfrm>
              <a:off x="4776258" y="3899025"/>
              <a:ext cx="3646786" cy="671477"/>
            </a:xfrm>
            <a:custGeom>
              <a:avLst/>
              <a:gdLst>
                <a:gd name="connsiteX0" fmla="*/ 0 w 3646786"/>
                <a:gd name="connsiteY0" fmla="*/ 0 h 671477"/>
                <a:gd name="connsiteX1" fmla="*/ 3646786 w 3646786"/>
                <a:gd name="connsiteY1" fmla="*/ 0 h 671477"/>
                <a:gd name="connsiteX2" fmla="*/ 3646786 w 3646786"/>
                <a:gd name="connsiteY2" fmla="*/ 671477 h 671477"/>
                <a:gd name="connsiteX3" fmla="*/ 0 w 3646786"/>
                <a:gd name="connsiteY3" fmla="*/ 671477 h 671477"/>
                <a:gd name="connsiteX4" fmla="*/ 0 w 3646786"/>
                <a:gd name="connsiteY4" fmla="*/ 0 h 671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786" h="671477">
                  <a:moveTo>
                    <a:pt x="0" y="0"/>
                  </a:moveTo>
                  <a:lnTo>
                    <a:pt x="3646786" y="0"/>
                  </a:lnTo>
                  <a:lnTo>
                    <a:pt x="3646786" y="671477"/>
                  </a:lnTo>
                  <a:lnTo>
                    <a:pt x="0" y="6714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85344" bIns="85344" numCol="1" spcCol="1270" anchor="ctr" anchorCtr="0">
              <a:no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1400" i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008452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AE44CC-7194-9A41-A684-075652E52F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5084" name="Слайд think-cell" r:id="rId4" imgW="7761960" imgH="100479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AAC3B3C-6054-BF4C-9491-6282C643B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  <a:noFill/>
        </p:spPr>
        <p:txBody>
          <a:bodyPr vert="horz"/>
          <a:lstStyle/>
          <a:p>
            <a:r>
              <a:rPr lang="ru-RU" dirty="0" smtClean="0"/>
              <a:t>О проекте</a:t>
            </a:r>
            <a:endParaRPr lang="ru-RU" dirty="0"/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xmlns="" id="{C6A4AD73-16A1-F041-9595-225B517A5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9771" y="6850214"/>
            <a:ext cx="6575811" cy="3600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AutoShape 250">
            <a:extLst>
              <a:ext uri="{FF2B5EF4-FFF2-40B4-BE49-F238E27FC236}">
                <a16:creationId xmlns:a16="http://schemas.microsoft.com/office/drawing/2014/main" xmlns="" id="{4E6F333A-DD06-6240-A50D-16BBE0C493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551" y="647731"/>
            <a:ext cx="2693290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Направление трансформации</a:t>
            </a:r>
          </a:p>
        </p:txBody>
      </p:sp>
      <p:sp>
        <p:nvSpPr>
          <p:cNvPr id="16" name="AutoShape 250">
            <a:extLst>
              <a:ext uri="{FF2B5EF4-FFF2-40B4-BE49-F238E27FC236}">
                <a16:creationId xmlns:a16="http://schemas.microsoft.com/office/drawing/2014/main" xmlns="" id="{18DCE364-556C-1541-809F-10D4A4C7AA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61409" y="647731"/>
            <a:ext cx="7759052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писание требуемых изменений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xmlns="" id="{899CCD83-3470-1243-BCAA-7BEBEE1B0D86}"/>
              </a:ext>
            </a:extLst>
          </p:cNvPr>
          <p:cNvGrpSpPr/>
          <p:nvPr/>
        </p:nvGrpSpPr>
        <p:grpSpPr>
          <a:xfrm>
            <a:off x="0" y="5663302"/>
            <a:ext cx="11383279" cy="776332"/>
            <a:chOff x="0" y="4830847"/>
            <a:chExt cx="11383279" cy="1368000"/>
          </a:xfrm>
        </p:grpSpPr>
        <p:sp>
          <p:nvSpPr>
            <p:cNvPr id="29" name="Текст 5">
              <a:extLst>
                <a:ext uri="{FF2B5EF4-FFF2-40B4-BE49-F238E27FC236}">
                  <a16:creationId xmlns:a16="http://schemas.microsoft.com/office/drawing/2014/main" xmlns="" id="{90BECE32-ED80-894E-BF39-AD696FEEF453}"/>
                </a:ext>
              </a:extLst>
            </p:cNvPr>
            <p:cNvSpPr txBox="1">
              <a:spLocks/>
            </p:cNvSpPr>
            <p:nvPr/>
          </p:nvSpPr>
          <p:spPr>
            <a:xfrm>
              <a:off x="337202" y="5416264"/>
              <a:ext cx="344262" cy="344262"/>
            </a:xfrm>
            <a:prstGeom prst="rect">
              <a:avLst/>
            </a:prstGeom>
            <a:noFill/>
          </p:spPr>
          <p:txBody>
            <a:bodyPr lIns="0" tIns="0" rIns="0" bIns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200" b="1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  <a:p>
              <a:endParaRPr lang="ru-RU" dirty="0"/>
            </a:p>
          </p:txBody>
        </p:sp>
        <p:sp>
          <p:nvSpPr>
            <p:cNvPr id="30" name="Скругленный прямоугольник 29">
              <a:extLst>
                <a:ext uri="{FF2B5EF4-FFF2-40B4-BE49-F238E27FC236}">
                  <a16:creationId xmlns:a16="http://schemas.microsoft.com/office/drawing/2014/main" xmlns="" id="{A497AFC7-AD16-F44F-8BEF-EA989FCFF8B0}"/>
                </a:ext>
              </a:extLst>
            </p:cNvPr>
            <p:cNvSpPr/>
            <p:nvPr/>
          </p:nvSpPr>
          <p:spPr>
            <a:xfrm>
              <a:off x="337202" y="5416264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xmlns="" id="{95851215-98FA-CF48-B530-9E1F1D10C7A0}"/>
                </a:ext>
              </a:extLst>
            </p:cNvPr>
            <p:cNvSpPr/>
            <p:nvPr/>
          </p:nvSpPr>
          <p:spPr>
            <a:xfrm>
              <a:off x="808720" y="4830847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45" name="Скругленный прямоугольник 44">
              <a:extLst>
                <a:ext uri="{FF2B5EF4-FFF2-40B4-BE49-F238E27FC236}">
                  <a16:creationId xmlns:a16="http://schemas.microsoft.com/office/drawing/2014/main" xmlns="" id="{ADF758A6-DEE8-734F-92D6-E6279DE37A6D}"/>
                </a:ext>
              </a:extLst>
            </p:cNvPr>
            <p:cNvSpPr/>
            <p:nvPr/>
          </p:nvSpPr>
          <p:spPr>
            <a:xfrm>
              <a:off x="808721" y="4830847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xmlns="" id="{88B4933C-6D4B-114A-A343-10B78CFFDD23}"/>
                </a:ext>
              </a:extLst>
            </p:cNvPr>
            <p:cNvSpPr/>
            <p:nvPr/>
          </p:nvSpPr>
          <p:spPr>
            <a:xfrm>
              <a:off x="3761409" y="5019474"/>
              <a:ext cx="7413272" cy="88130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Во всех регионах присутствия имеется достаточное число абитуриентов в ТУ УГМК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Единые принципы работы со школьниками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xmlns="" id="{278F781A-DFE5-9F4C-873F-9180439A91ED}"/>
                </a:ext>
              </a:extLst>
            </p:cNvPr>
            <p:cNvSpPr/>
            <p:nvPr/>
          </p:nvSpPr>
          <p:spPr>
            <a:xfrm>
              <a:off x="1050585" y="5422513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Критерии эффективности</a:t>
              </a:r>
              <a:endParaRPr lang="ru-RU" sz="1200" b="1" dirty="0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xmlns="" id="{A91B6787-568D-2B42-9E1B-6745C3FA3AD4}"/>
                </a:ext>
              </a:extLst>
            </p:cNvPr>
            <p:cNvSpPr/>
            <p:nvPr/>
          </p:nvSpPr>
          <p:spPr>
            <a:xfrm>
              <a:off x="0" y="5416264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1FFBC75B-A01B-AF43-8FB9-0DD574CC6EEE}"/>
              </a:ext>
            </a:extLst>
          </p:cNvPr>
          <p:cNvGrpSpPr/>
          <p:nvPr/>
        </p:nvGrpSpPr>
        <p:grpSpPr>
          <a:xfrm>
            <a:off x="0" y="4479806"/>
            <a:ext cx="11383279" cy="1012114"/>
            <a:chOff x="0" y="3308228"/>
            <a:chExt cx="11383279" cy="1368000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xmlns="" id="{C9099F81-81B1-B848-9874-E3493041E2F7}"/>
                </a:ext>
              </a:extLst>
            </p:cNvPr>
            <p:cNvSpPr/>
            <p:nvPr/>
          </p:nvSpPr>
          <p:spPr>
            <a:xfrm>
              <a:off x="337202" y="3813178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кругленный прямоугольник 35">
              <a:extLst>
                <a:ext uri="{FF2B5EF4-FFF2-40B4-BE49-F238E27FC236}">
                  <a16:creationId xmlns:a16="http://schemas.microsoft.com/office/drawing/2014/main" xmlns="" id="{20A4D0C7-98E4-5D4B-86C8-1DBA774D28C5}"/>
                </a:ext>
              </a:extLst>
            </p:cNvPr>
            <p:cNvSpPr/>
            <p:nvPr/>
          </p:nvSpPr>
          <p:spPr>
            <a:xfrm>
              <a:off x="808720" y="3308228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xmlns="" id="{F72B015F-1573-914E-BD20-6F86CE14A7E8}"/>
                </a:ext>
              </a:extLst>
            </p:cNvPr>
            <p:cNvSpPr/>
            <p:nvPr/>
          </p:nvSpPr>
          <p:spPr>
            <a:xfrm>
              <a:off x="808721" y="3308228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C23E26B0-1A88-E14D-80FE-43001D54A154}"/>
                </a:ext>
              </a:extLst>
            </p:cNvPr>
            <p:cNvSpPr/>
            <p:nvPr/>
          </p:nvSpPr>
          <p:spPr>
            <a:xfrm>
              <a:off x="3764224" y="3529451"/>
              <a:ext cx="7413272" cy="97759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Увеличение числа кандидатов на поступление в Технический университет УГМК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Повышение уровня подготовки абитуриентов от предприятий 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Увеличение привлекательности «заводских» профессий и организаций УГМК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xmlns="" id="{FC72C2C1-3708-A24D-9553-4071A8AED669}"/>
                </a:ext>
              </a:extLst>
            </p:cNvPr>
            <p:cNvSpPr/>
            <p:nvPr/>
          </p:nvSpPr>
          <p:spPr>
            <a:xfrm>
              <a:off x="1050585" y="3899894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Планируемый эффект</a:t>
              </a:r>
              <a:endParaRPr lang="ru-RU" sz="1200" b="1" dirty="0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xmlns="" id="{5981E042-253E-9D4B-8433-2C0917366A12}"/>
                </a:ext>
              </a:extLst>
            </p:cNvPr>
            <p:cNvSpPr/>
            <p:nvPr/>
          </p:nvSpPr>
          <p:spPr>
            <a:xfrm>
              <a:off x="0" y="3813178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9286C560-847E-9147-93E5-DDCA1DD5E430}"/>
              </a:ext>
            </a:extLst>
          </p:cNvPr>
          <p:cNvGrpSpPr/>
          <p:nvPr/>
        </p:nvGrpSpPr>
        <p:grpSpPr>
          <a:xfrm>
            <a:off x="2815" y="3034701"/>
            <a:ext cx="11383279" cy="1361189"/>
            <a:chOff x="0" y="1785609"/>
            <a:chExt cx="11383279" cy="1368000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xmlns="" id="{140F161B-C386-1D44-9718-3BB344E96E29}"/>
                </a:ext>
              </a:extLst>
            </p:cNvPr>
            <p:cNvSpPr/>
            <p:nvPr/>
          </p:nvSpPr>
          <p:spPr>
            <a:xfrm>
              <a:off x="808721" y="1785609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xmlns="" id="{5995662C-1B1B-FD47-B4E5-BECBBF23686A}"/>
                </a:ext>
              </a:extLst>
            </p:cNvPr>
            <p:cNvSpPr/>
            <p:nvPr/>
          </p:nvSpPr>
          <p:spPr>
            <a:xfrm>
              <a:off x="808720" y="1785609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xmlns="" id="{2EB03AAB-1E1C-6D4B-9FD3-4FB90D84ED6E}"/>
                </a:ext>
              </a:extLst>
            </p:cNvPr>
            <p:cNvSpPr/>
            <p:nvPr/>
          </p:nvSpPr>
          <p:spPr>
            <a:xfrm>
              <a:off x="337202" y="2210091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xmlns="" id="{F7BE29E3-A9B5-5445-A45B-38DB74F7A66F}"/>
                </a:ext>
              </a:extLst>
            </p:cNvPr>
            <p:cNvSpPr/>
            <p:nvPr/>
          </p:nvSpPr>
          <p:spPr>
            <a:xfrm>
              <a:off x="3761409" y="1884834"/>
              <a:ext cx="7413272" cy="276999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ru-RU" sz="1200" dirty="0"/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E921F2D0-0F71-E54B-BD00-CB9C6713154E}"/>
                </a:ext>
              </a:extLst>
            </p:cNvPr>
            <p:cNvSpPr/>
            <p:nvPr/>
          </p:nvSpPr>
          <p:spPr>
            <a:xfrm>
              <a:off x="1050585" y="2377275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Краткое описание проекта</a:t>
              </a:r>
              <a:endParaRPr lang="ru-RU" sz="1200" b="1" dirty="0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xmlns="" id="{2F6B785B-99F7-6448-A369-D41E4B596B88}"/>
                </a:ext>
              </a:extLst>
            </p:cNvPr>
            <p:cNvSpPr/>
            <p:nvPr/>
          </p:nvSpPr>
          <p:spPr>
            <a:xfrm>
              <a:off x="0" y="2210091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xmlns="" id="{899CCD83-3470-1243-BCAA-7BEBEE1B0D86}"/>
              </a:ext>
            </a:extLst>
          </p:cNvPr>
          <p:cNvGrpSpPr/>
          <p:nvPr/>
        </p:nvGrpSpPr>
        <p:grpSpPr>
          <a:xfrm>
            <a:off x="2815" y="1138580"/>
            <a:ext cx="11383279" cy="1804473"/>
            <a:chOff x="0" y="4830847"/>
            <a:chExt cx="11383279" cy="1292700"/>
          </a:xfrm>
        </p:grpSpPr>
        <p:sp>
          <p:nvSpPr>
            <p:cNvPr id="49" name="Текст 5">
              <a:extLst>
                <a:ext uri="{FF2B5EF4-FFF2-40B4-BE49-F238E27FC236}">
                  <a16:creationId xmlns:a16="http://schemas.microsoft.com/office/drawing/2014/main" xmlns="" id="{90BECE32-ED80-894E-BF39-AD696FEEF453}"/>
                </a:ext>
              </a:extLst>
            </p:cNvPr>
            <p:cNvSpPr txBox="1">
              <a:spLocks/>
            </p:cNvSpPr>
            <p:nvPr/>
          </p:nvSpPr>
          <p:spPr>
            <a:xfrm>
              <a:off x="337202" y="5416264"/>
              <a:ext cx="344262" cy="344262"/>
            </a:xfrm>
            <a:prstGeom prst="rect">
              <a:avLst/>
            </a:prstGeom>
            <a:noFill/>
          </p:spPr>
          <p:txBody>
            <a:bodyPr lIns="0" tIns="0" rIns="0" bIns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200" b="1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  <a:p>
              <a:endParaRPr lang="ru-RU" dirty="0"/>
            </a:p>
          </p:txBody>
        </p:sp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xmlns="" id="{A497AFC7-AD16-F44F-8BEF-EA989FCFF8B0}"/>
                </a:ext>
              </a:extLst>
            </p:cNvPr>
            <p:cNvSpPr/>
            <p:nvPr/>
          </p:nvSpPr>
          <p:spPr>
            <a:xfrm>
              <a:off x="337202" y="5416264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xmlns="" id="{95851215-98FA-CF48-B530-9E1F1D10C7A0}"/>
                </a:ext>
              </a:extLst>
            </p:cNvPr>
            <p:cNvSpPr/>
            <p:nvPr/>
          </p:nvSpPr>
          <p:spPr>
            <a:xfrm>
              <a:off x="808720" y="4830847"/>
              <a:ext cx="2820953" cy="12927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58" name="Скругленный прямоугольник 57">
              <a:extLst>
                <a:ext uri="{FF2B5EF4-FFF2-40B4-BE49-F238E27FC236}">
                  <a16:creationId xmlns:a16="http://schemas.microsoft.com/office/drawing/2014/main" xmlns="" id="{ADF758A6-DEE8-734F-92D6-E6279DE37A6D}"/>
                </a:ext>
              </a:extLst>
            </p:cNvPr>
            <p:cNvSpPr/>
            <p:nvPr/>
          </p:nvSpPr>
          <p:spPr>
            <a:xfrm>
              <a:off x="808721" y="4830848"/>
              <a:ext cx="10574558" cy="1292699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xmlns="" id="{88B4933C-6D4B-114A-A343-10B78CFFDD23}"/>
                </a:ext>
              </a:extLst>
            </p:cNvPr>
            <p:cNvSpPr/>
            <p:nvPr/>
          </p:nvSpPr>
          <p:spPr>
            <a:xfrm>
              <a:off x="3764223" y="4864883"/>
              <a:ext cx="7413272" cy="123472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lvl="1" defTabSz="1020196">
                <a:spcBef>
                  <a:spcPts val="300"/>
                </a:spcBef>
                <a:buClr>
                  <a:schemeClr val="accent1"/>
                </a:buClr>
              </a:pPr>
              <a:r>
                <a:rPr lang="ru-RU" sz="1200" dirty="0" smtClean="0"/>
                <a:t>В городах присутствия УГМК недостаточное </a:t>
              </a:r>
              <a:r>
                <a:rPr lang="ru-RU" sz="1200" dirty="0"/>
                <a:t>число школьников – кандидатов на целевое обучение в Техническом университете </a:t>
              </a:r>
              <a:r>
                <a:rPr lang="ru-RU" sz="1200" dirty="0" smtClean="0"/>
                <a:t>УГМК, а также в других организация высшего </a:t>
              </a:r>
              <a:r>
                <a:rPr lang="ru-RU" sz="1200" dirty="0"/>
                <a:t>и </a:t>
              </a:r>
              <a:r>
                <a:rPr lang="ru-RU" sz="1200" dirty="0" smtClean="0"/>
                <a:t>среднего профессионального образования по направлениям, актуальным для организаций компании.</a:t>
              </a:r>
            </a:p>
            <a:p>
              <a:pPr marL="0" lvl="1" defTabSz="1020196">
                <a:spcBef>
                  <a:spcPts val="300"/>
                </a:spcBef>
                <a:buClr>
                  <a:schemeClr val="accent1"/>
                </a:buClr>
              </a:pPr>
              <a:r>
                <a:rPr lang="ru-RU" sz="1200" dirty="0" smtClean="0"/>
                <a:t>Причины:</a:t>
              </a:r>
              <a:endParaRPr lang="ru-RU" sz="1200" dirty="0"/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Н</a:t>
              </a:r>
              <a:r>
                <a:rPr lang="ru-RU" sz="1200" dirty="0" smtClean="0"/>
                <a:t>изкий уровень </a:t>
              </a:r>
              <a:r>
                <a:rPr lang="ru-RU" sz="1200" dirty="0"/>
                <a:t>преподавания естественно-научных дисциплин и </a:t>
              </a:r>
              <a:r>
                <a:rPr lang="ru-RU" sz="1200" dirty="0" smtClean="0"/>
                <a:t>математики</a:t>
              </a:r>
              <a:endParaRPr lang="ru-RU" sz="1200" dirty="0"/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Н</a:t>
              </a:r>
              <a:r>
                <a:rPr lang="ru-RU" sz="1200" dirty="0" smtClean="0"/>
                <a:t>изкая информированность </a:t>
              </a:r>
              <a:r>
                <a:rPr lang="ru-RU" sz="1200" dirty="0"/>
                <a:t>школьников о профессиях и возможной карьере на предприятиях </a:t>
              </a:r>
              <a:r>
                <a:rPr lang="ru-RU" sz="1200" dirty="0" smtClean="0"/>
                <a:t>УГМК </a:t>
              </a:r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О</a:t>
              </a:r>
              <a:r>
                <a:rPr lang="ru-RU" sz="1200" dirty="0" smtClean="0"/>
                <a:t>тток </a:t>
              </a:r>
              <a:r>
                <a:rPr lang="ru-RU" sz="1200" dirty="0"/>
                <a:t>абитуриентов из городов с ограниченным рынком труда и социальной </a:t>
              </a:r>
              <a:r>
                <a:rPr lang="ru-RU" sz="1200" dirty="0" smtClean="0"/>
                <a:t>инфраструктурой</a:t>
              </a:r>
              <a:endParaRPr lang="ru-RU" sz="1200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xmlns="" id="{278F781A-DFE5-9F4C-873F-9180439A91ED}"/>
                </a:ext>
              </a:extLst>
            </p:cNvPr>
            <p:cNvSpPr/>
            <p:nvPr/>
          </p:nvSpPr>
          <p:spPr>
            <a:xfrm>
              <a:off x="1050585" y="5438624"/>
              <a:ext cx="2408471" cy="152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/>
                <a:t>Проблемная ситуация</a:t>
              </a:r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xmlns="" id="{A91B6787-568D-2B42-9E1B-6745C3FA3AD4}"/>
                </a:ext>
              </a:extLst>
            </p:cNvPr>
            <p:cNvSpPr/>
            <p:nvPr/>
          </p:nvSpPr>
          <p:spPr>
            <a:xfrm>
              <a:off x="0" y="5416264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767038" y="3118617"/>
            <a:ext cx="741045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Разработка очно-заочной образовательной программы для школьников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Отбор школьников из городов присутствия организаций УГМК 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Дистанционная подготовка по физике, математике и другим предметам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Очные проектные смены, экскурсии, выполнение проектов по заводской тематике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Мониторинг учебных достижений и мотивации учащихся, проведение конкурсов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355795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FFFC0E9E-9D5F-8542-A0FA-AF60F6F73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48159" name="Слайд think-cell" r:id="rId4" imgW="7761960" imgH="10047960" progId="">
              <p:embed/>
            </p:oleObj>
          </a:graphicData>
        </a:graphic>
      </p:graphicFrame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xmlns="" id="{49291C20-8FE9-BA4C-BAC0-71C5251A6D46}"/>
              </a:ext>
            </a:extLst>
          </p:cNvPr>
          <p:cNvCxnSpPr>
            <a:cxnSpLocks/>
            <a:stCxn id="20" idx="1"/>
            <a:endCxn id="23" idx="1"/>
          </p:cNvCxnSpPr>
          <p:nvPr/>
        </p:nvCxnSpPr>
        <p:spPr>
          <a:xfrm flipH="1">
            <a:off x="4675642" y="1341437"/>
            <a:ext cx="676365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xmlns="" id="{18258E3A-0E33-3A4F-B267-9C518073D424}"/>
              </a:ext>
            </a:extLst>
          </p:cNvPr>
          <p:cNvCxnSpPr>
            <a:cxnSpLocks/>
            <a:stCxn id="20" idx="0"/>
            <a:endCxn id="23" idx="0"/>
          </p:cNvCxnSpPr>
          <p:nvPr/>
        </p:nvCxnSpPr>
        <p:spPr>
          <a:xfrm>
            <a:off x="808907" y="1341437"/>
            <a:ext cx="676362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B193D5ED-52F0-A04C-AAC9-D592EE5BFAF9}"/>
              </a:ext>
            </a:extLst>
          </p:cNvPr>
          <p:cNvGrpSpPr/>
          <p:nvPr/>
        </p:nvGrpSpPr>
        <p:grpSpPr>
          <a:xfrm>
            <a:off x="2909315" y="1341437"/>
            <a:ext cx="8485437" cy="828000"/>
            <a:chOff x="2909315" y="1341437"/>
            <a:chExt cx="8485437" cy="828000"/>
          </a:xfrm>
        </p:grpSpPr>
        <p:sp>
          <p:nvSpPr>
            <p:cNvPr id="56" name="Скругленный прямоугольник 55">
              <a:extLst>
                <a:ext uri="{FF2B5EF4-FFF2-40B4-BE49-F238E27FC236}">
                  <a16:creationId xmlns:a16="http://schemas.microsoft.com/office/drawing/2014/main" xmlns="" id="{4CFD691F-4A5F-E74C-A7AE-68BD886F140B}"/>
                </a:ext>
              </a:extLst>
            </p:cNvPr>
            <p:cNvSpPr/>
            <p:nvPr/>
          </p:nvSpPr>
          <p:spPr>
            <a:xfrm>
              <a:off x="6107658" y="134143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marL="0" lvl="1" defTabSz="1020196">
                <a:spcBef>
                  <a:spcPts val="1200"/>
                </a:spcBef>
              </a:pPr>
              <a:endParaRPr lang="ru-RU" sz="1200" dirty="0" smtClean="0">
                <a:solidFill>
                  <a:srgbClr val="000000"/>
                </a:solidFill>
              </a:endParaRPr>
            </a:p>
            <a:p>
              <a:pPr marL="0" lvl="1" defTabSz="1020196">
                <a:spcBef>
                  <a:spcPts val="600"/>
                </a:spcBef>
              </a:pPr>
              <a:r>
                <a:rPr lang="ru-RU" sz="1200" dirty="0" smtClean="0">
                  <a:solidFill>
                    <a:srgbClr val="000000"/>
                  </a:solidFill>
                </a:rPr>
                <a:t>Информирование о проекте «Инженерная школа УГМК» всех школьников в городах присутствия компании</a:t>
              </a:r>
            </a:p>
            <a:p>
              <a:pPr marL="0" lvl="1" defTabSz="1020196">
                <a:spcBef>
                  <a:spcPts val="600"/>
                </a:spcBef>
              </a:pPr>
              <a:r>
                <a:rPr lang="ru-RU" sz="1200" dirty="0" smtClean="0">
                  <a:solidFill>
                    <a:srgbClr val="000000"/>
                  </a:solidFill>
                </a:rPr>
                <a:t> Работа с управлениями образования в территориях</a:t>
              </a:r>
              <a:endParaRPr lang="ru-RU" sz="1200" dirty="0">
                <a:solidFill>
                  <a:srgbClr val="000000"/>
                </a:solidFill>
              </a:endParaRPr>
            </a:p>
            <a:p>
              <a:pPr marL="0" lvl="1" defTabSz="1020196">
                <a:spcBef>
                  <a:spcPts val="1200"/>
                </a:spcBef>
              </a:pPr>
              <a:r>
                <a:rPr lang="ru-RU" sz="1200" dirty="0" smtClean="0"/>
                <a:t> </a:t>
              </a:r>
              <a:r>
                <a:rPr lang="ru-RU" sz="1200" dirty="0"/>
                <a:t>УГМК </a:t>
              </a:r>
            </a:p>
          </p:txBody>
        </p:sp>
        <p:cxnSp>
          <p:nvCxnSpPr>
            <p:cNvPr id="12" name="Elbow Connector 96">
              <a:extLst>
                <a:ext uri="{FF2B5EF4-FFF2-40B4-BE49-F238E27FC236}">
                  <a16:creationId xmlns:a16="http://schemas.microsoft.com/office/drawing/2014/main" xmlns="" id="{F9939276-AA76-884E-A7EB-5D66F65472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1755437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D4702E3F-0963-A848-B9BA-EDFC16394745}"/>
              </a:ext>
            </a:extLst>
          </p:cNvPr>
          <p:cNvGrpSpPr/>
          <p:nvPr/>
        </p:nvGrpSpPr>
        <p:grpSpPr>
          <a:xfrm>
            <a:off x="2909315" y="5370997"/>
            <a:ext cx="8485437" cy="828000"/>
            <a:chOff x="2909315" y="5370997"/>
            <a:chExt cx="8485437" cy="828000"/>
          </a:xfrm>
        </p:grpSpPr>
        <p:sp>
          <p:nvSpPr>
            <p:cNvPr id="68" name="Скругленный прямоугольник 67">
              <a:extLst>
                <a:ext uri="{FF2B5EF4-FFF2-40B4-BE49-F238E27FC236}">
                  <a16:creationId xmlns:a16="http://schemas.microsoft.com/office/drawing/2014/main" xmlns="" id="{C932BF38-885C-1D4E-9D16-748F77BBAC55}"/>
                </a:ext>
              </a:extLst>
            </p:cNvPr>
            <p:cNvSpPr/>
            <p:nvPr/>
          </p:nvSpPr>
          <p:spPr>
            <a:xfrm>
              <a:off x="6107658" y="537099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Зачисление отобранных кандидатов в Инженерную школу УГМК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Elbow Connector 96">
              <a:extLst>
                <a:ext uri="{FF2B5EF4-FFF2-40B4-BE49-F238E27FC236}">
                  <a16:creationId xmlns:a16="http://schemas.microsoft.com/office/drawing/2014/main" xmlns="" id="{5D287E4D-1874-C140-8DE8-1FF267AFBAF9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5797541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4EA999EE-F72E-2444-89A9-610BE735AFB8}"/>
              </a:ext>
            </a:extLst>
          </p:cNvPr>
          <p:cNvGrpSpPr/>
          <p:nvPr/>
        </p:nvGrpSpPr>
        <p:grpSpPr>
          <a:xfrm>
            <a:off x="2919021" y="3356217"/>
            <a:ext cx="8475731" cy="828000"/>
            <a:chOff x="2603137" y="1502203"/>
            <a:chExt cx="8475731" cy="828000"/>
          </a:xfrm>
        </p:grpSpPr>
        <p:sp>
          <p:nvSpPr>
            <p:cNvPr id="65" name="Скругленный прямоугольник 64">
              <a:extLst>
                <a:ext uri="{FF2B5EF4-FFF2-40B4-BE49-F238E27FC236}">
                  <a16:creationId xmlns:a16="http://schemas.microsoft.com/office/drawing/2014/main" xmlns="" id="{0958B03F-47B3-6F4F-BCF7-0697A3E23CF3}"/>
                </a:ext>
              </a:extLst>
            </p:cNvPr>
            <p:cNvSpPr/>
            <p:nvPr/>
          </p:nvSpPr>
          <p:spPr>
            <a:xfrm>
              <a:off x="5791774" y="1502203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, имеющих достижения </a:t>
              </a:r>
              <a:r>
                <a:rPr lang="ru-RU" sz="1200" dirty="0">
                  <a:solidFill>
                    <a:srgbClr val="000000"/>
                  </a:solidFill>
                </a:rPr>
                <a:t>по математике, информатике, физике, </a:t>
              </a:r>
              <a:r>
                <a:rPr lang="ru-RU" sz="1200" dirty="0" smtClean="0">
                  <a:solidFill>
                    <a:srgbClr val="000000"/>
                  </a:solidFill>
                </a:rPr>
                <a:t>химии на основании рекомендаций управлений образования городов присутствия УГМК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96">
              <a:extLst>
                <a:ext uri="{FF2B5EF4-FFF2-40B4-BE49-F238E27FC236}">
                  <a16:creationId xmlns:a16="http://schemas.microsoft.com/office/drawing/2014/main" xmlns="" id="{31F362CB-4ABB-7044-BA10-EAB3C25FDD3B}"/>
                </a:ext>
              </a:extLst>
            </p:cNvPr>
            <p:cNvCxnSpPr>
              <a:cxnSpLocks/>
            </p:cNvCxnSpPr>
            <p:nvPr/>
          </p:nvCxnSpPr>
          <p:spPr>
            <a:xfrm>
              <a:off x="2603137" y="1908843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88580101-6CF1-CB4E-A591-838744416A18}"/>
              </a:ext>
            </a:extLst>
          </p:cNvPr>
          <p:cNvGrpSpPr/>
          <p:nvPr/>
        </p:nvGrpSpPr>
        <p:grpSpPr>
          <a:xfrm>
            <a:off x="2909315" y="2341388"/>
            <a:ext cx="8485437" cy="828000"/>
            <a:chOff x="2909315" y="3356217"/>
            <a:chExt cx="8485437" cy="828000"/>
          </a:xfrm>
        </p:grpSpPr>
        <p:sp>
          <p:nvSpPr>
            <p:cNvPr id="66" name="Скругленный прямоугольник 65">
              <a:extLst>
                <a:ext uri="{FF2B5EF4-FFF2-40B4-BE49-F238E27FC236}">
                  <a16:creationId xmlns:a16="http://schemas.microsoft.com/office/drawing/2014/main" xmlns="" id="{4C87E176-5F9C-F344-9C54-0F0E8C678552}"/>
                </a:ext>
              </a:extLst>
            </p:cNvPr>
            <p:cNvSpPr/>
            <p:nvPr/>
          </p:nvSpPr>
          <p:spPr>
            <a:xfrm>
              <a:off x="6107658" y="335621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, проявляющих интерес к проекту «Инженерная школа УГМК»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Elbow Connector 96">
              <a:extLst>
                <a:ext uri="{FF2B5EF4-FFF2-40B4-BE49-F238E27FC236}">
                  <a16:creationId xmlns:a16="http://schemas.microsoft.com/office/drawing/2014/main" xmlns="" id="{EDE3C7C0-41D8-5944-9C07-82E6DD1DBC1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3776489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F8CBEB72-BBEA-944C-AEC6-0079937F36A2}"/>
              </a:ext>
            </a:extLst>
          </p:cNvPr>
          <p:cNvGrpSpPr/>
          <p:nvPr/>
        </p:nvGrpSpPr>
        <p:grpSpPr>
          <a:xfrm>
            <a:off x="2909315" y="4363607"/>
            <a:ext cx="8485437" cy="828000"/>
            <a:chOff x="2909315" y="4363607"/>
            <a:chExt cx="8485437" cy="828000"/>
          </a:xfrm>
        </p:grpSpPr>
        <p:sp>
          <p:nvSpPr>
            <p:cNvPr id="67" name="Скругленный прямоугольник 66">
              <a:extLst>
                <a:ext uri="{FF2B5EF4-FFF2-40B4-BE49-F238E27FC236}">
                  <a16:creationId xmlns:a16="http://schemas.microsoft.com/office/drawing/2014/main" xmlns="" id="{DD632186-C8D0-4649-A2AA-5BB59DE15CD3}"/>
                </a:ext>
              </a:extLst>
            </p:cNvPr>
            <p:cNvSpPr/>
            <p:nvPr/>
          </p:nvSpPr>
          <p:spPr>
            <a:xfrm>
              <a:off x="6107658" y="436360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 через прохождение входного тестирования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5" name="Elbow Connector 96">
              <a:extLst>
                <a:ext uri="{FF2B5EF4-FFF2-40B4-BE49-F238E27FC236}">
                  <a16:creationId xmlns:a16="http://schemas.microsoft.com/office/drawing/2014/main" xmlns="" id="{F87BB200-FE1E-0349-96BC-153CB1380DED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4787015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xmlns="" id="{64B1835F-0B94-3A41-B319-6354716A791C}"/>
              </a:ext>
            </a:extLst>
          </p:cNvPr>
          <p:cNvGrpSpPr/>
          <p:nvPr/>
        </p:nvGrpSpPr>
        <p:grpSpPr>
          <a:xfrm>
            <a:off x="1687557" y="5383541"/>
            <a:ext cx="2785796" cy="828000"/>
            <a:chOff x="1687557" y="5383541"/>
            <a:chExt cx="2785796" cy="828000"/>
          </a:xfrm>
        </p:grpSpPr>
        <p:sp>
          <p:nvSpPr>
            <p:cNvPr id="11" name="Freeform 98">
              <a:extLst>
                <a:ext uri="{FF2B5EF4-FFF2-40B4-BE49-F238E27FC236}">
                  <a16:creationId xmlns:a16="http://schemas.microsoft.com/office/drawing/2014/main" xmlns="" id="{93C0C761-AC2D-094A-8BA3-01CF3D779498}"/>
                </a:ext>
              </a:extLst>
            </p:cNvPr>
            <p:cNvSpPr/>
            <p:nvPr/>
          </p:nvSpPr>
          <p:spPr>
            <a:xfrm>
              <a:off x="1687557" y="5383541"/>
              <a:ext cx="2785796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xmlns="" id="{A768B2C2-5F99-C04D-82E1-0CC74090878B}"/>
                </a:ext>
              </a:extLst>
            </p:cNvPr>
            <p:cNvSpPr/>
            <p:nvPr/>
          </p:nvSpPr>
          <p:spPr>
            <a:xfrm>
              <a:off x="2784056" y="5631341"/>
              <a:ext cx="1020921" cy="3323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Зачисление – 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январь</a:t>
              </a:r>
              <a:r>
                <a:rPr lang="ru-RU" sz="1200" dirty="0" smtClean="0">
                  <a:solidFill>
                    <a:srgbClr val="FFFFFF"/>
                  </a:solidFill>
                </a:rPr>
                <a:t> 2022 </a:t>
              </a:r>
              <a:r>
                <a:rPr lang="ru-RU" sz="1200" dirty="0" smtClean="0">
                  <a:solidFill>
                    <a:srgbClr val="FFFFFF"/>
                  </a:solidFill>
                </a:rPr>
                <a:t>г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xmlns="" id="{E3E48A16-DF0A-A047-890A-16E1AB7DC51F}"/>
              </a:ext>
            </a:extLst>
          </p:cNvPr>
          <p:cNvGrpSpPr/>
          <p:nvPr/>
        </p:nvGrpSpPr>
        <p:grpSpPr>
          <a:xfrm>
            <a:off x="1485269" y="4373015"/>
            <a:ext cx="3190373" cy="828000"/>
            <a:chOff x="1485269" y="4373015"/>
            <a:chExt cx="3190373" cy="828000"/>
          </a:xfrm>
        </p:grpSpPr>
        <p:sp>
          <p:nvSpPr>
            <p:cNvPr id="23" name="Freeform 98">
              <a:extLst>
                <a:ext uri="{FF2B5EF4-FFF2-40B4-BE49-F238E27FC236}">
                  <a16:creationId xmlns:a16="http://schemas.microsoft.com/office/drawing/2014/main" xmlns="" id="{4AD300C2-D8B5-8A42-ADA1-581BD98818E5}"/>
                </a:ext>
              </a:extLst>
            </p:cNvPr>
            <p:cNvSpPr/>
            <p:nvPr/>
          </p:nvSpPr>
          <p:spPr>
            <a:xfrm>
              <a:off x="1485269" y="4373015"/>
              <a:ext cx="3190373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EB06F555-B985-2E4C-B5D1-63028B7BEC30}"/>
                </a:ext>
              </a:extLst>
            </p:cNvPr>
            <p:cNvSpPr/>
            <p:nvPr/>
          </p:nvSpPr>
          <p:spPr>
            <a:xfrm>
              <a:off x="2391335" y="4721068"/>
              <a:ext cx="97892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3</a:t>
              </a:r>
              <a:r>
                <a:rPr lang="ru-RU" sz="1200" dirty="0" smtClean="0">
                  <a:solidFill>
                    <a:srgbClr val="FFFFFF"/>
                  </a:solidFill>
                </a:rPr>
                <a:t> этап 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C6CB0434-5F81-A741-8B70-DD41993F386E}"/>
              </a:ext>
            </a:extLst>
          </p:cNvPr>
          <p:cNvGrpSpPr/>
          <p:nvPr/>
        </p:nvGrpSpPr>
        <p:grpSpPr>
          <a:xfrm>
            <a:off x="1252164" y="3362489"/>
            <a:ext cx="3656582" cy="828000"/>
            <a:chOff x="1252164" y="3362489"/>
            <a:chExt cx="3656582" cy="828000"/>
          </a:xfrm>
        </p:grpSpPr>
        <p:sp>
          <p:nvSpPr>
            <p:cNvPr id="22" name="Freeform 98">
              <a:extLst>
                <a:ext uri="{FF2B5EF4-FFF2-40B4-BE49-F238E27FC236}">
                  <a16:creationId xmlns:a16="http://schemas.microsoft.com/office/drawing/2014/main" xmlns="" id="{FAE66DF8-E516-1B4A-B69A-7F7E5BB2D740}"/>
                </a:ext>
              </a:extLst>
            </p:cNvPr>
            <p:cNvSpPr/>
            <p:nvPr/>
          </p:nvSpPr>
          <p:spPr>
            <a:xfrm>
              <a:off x="1252164" y="3362489"/>
              <a:ext cx="3656582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38F91A73-8125-9346-A889-40B1AB4416A8}"/>
                </a:ext>
              </a:extLst>
            </p:cNvPr>
            <p:cNvSpPr/>
            <p:nvPr/>
          </p:nvSpPr>
          <p:spPr>
            <a:xfrm>
              <a:off x="2250448" y="3679758"/>
              <a:ext cx="2222905" cy="1661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2 этап 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55EB6852-DD2B-344E-9D60-4F1800314D88}"/>
              </a:ext>
            </a:extLst>
          </p:cNvPr>
          <p:cNvGrpSpPr/>
          <p:nvPr/>
        </p:nvGrpSpPr>
        <p:grpSpPr>
          <a:xfrm>
            <a:off x="1030874" y="2351963"/>
            <a:ext cx="4099169" cy="828000"/>
            <a:chOff x="1030874" y="2351963"/>
            <a:chExt cx="4099169" cy="828000"/>
          </a:xfrm>
        </p:grpSpPr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xmlns="" id="{6EE384CB-CEAA-FC44-87AE-7F6C4AB710E2}"/>
                </a:ext>
              </a:extLst>
            </p:cNvPr>
            <p:cNvSpPr/>
            <p:nvPr/>
          </p:nvSpPr>
          <p:spPr>
            <a:xfrm>
              <a:off x="1030874" y="2351963"/>
              <a:ext cx="4099169" cy="828000"/>
            </a:xfrm>
            <a:custGeom>
              <a:avLst/>
              <a:gdLst>
                <a:gd name="connsiteX0" fmla="*/ 0 w 1807573"/>
                <a:gd name="connsiteY0" fmla="*/ 0 h 557842"/>
                <a:gd name="connsiteX1" fmla="*/ 1807573 w 1807573"/>
                <a:gd name="connsiteY1" fmla="*/ 0 h 557842"/>
                <a:gd name="connsiteX2" fmla="*/ 1746765 w 1807573"/>
                <a:gd name="connsiteY2" fmla="*/ 557842 h 557842"/>
                <a:gd name="connsiteX3" fmla="*/ 60808 w 1807573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7573" h="557842">
                  <a:moveTo>
                    <a:pt x="0" y="0"/>
                  </a:moveTo>
                  <a:lnTo>
                    <a:pt x="1807573" y="0"/>
                  </a:lnTo>
                  <a:lnTo>
                    <a:pt x="1746765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BC3BAF30-6FA9-E043-B8D8-AED6C40F8391}"/>
                </a:ext>
              </a:extLst>
            </p:cNvPr>
            <p:cNvSpPr/>
            <p:nvPr/>
          </p:nvSpPr>
          <p:spPr>
            <a:xfrm>
              <a:off x="2038144" y="2679988"/>
              <a:ext cx="97892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1 этап 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xmlns="" id="{29783A71-9043-6543-AF95-66C173720D5B}"/>
              </a:ext>
            </a:extLst>
          </p:cNvPr>
          <p:cNvGrpSpPr/>
          <p:nvPr/>
        </p:nvGrpSpPr>
        <p:grpSpPr>
          <a:xfrm>
            <a:off x="808907" y="1341437"/>
            <a:ext cx="4543100" cy="828000"/>
            <a:chOff x="808907" y="1341437"/>
            <a:chExt cx="4543100" cy="828000"/>
          </a:xfrm>
        </p:grpSpPr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xmlns="" id="{E9CB7AE9-6BCC-E647-BAB1-C16C33FD276E}"/>
                </a:ext>
              </a:extLst>
            </p:cNvPr>
            <p:cNvSpPr/>
            <p:nvPr/>
          </p:nvSpPr>
          <p:spPr>
            <a:xfrm>
              <a:off x="808907" y="1341437"/>
              <a:ext cx="4543100" cy="828000"/>
            </a:xfrm>
            <a:custGeom>
              <a:avLst/>
              <a:gdLst>
                <a:gd name="connsiteX0" fmla="*/ 0 w 2003329"/>
                <a:gd name="connsiteY0" fmla="*/ 0 h 557842"/>
                <a:gd name="connsiteX1" fmla="*/ 2003329 w 2003329"/>
                <a:gd name="connsiteY1" fmla="*/ 0 h 557842"/>
                <a:gd name="connsiteX2" fmla="*/ 1942521 w 2003329"/>
                <a:gd name="connsiteY2" fmla="*/ 557842 h 557842"/>
                <a:gd name="connsiteX3" fmla="*/ 60808 w 200332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3329" h="557842">
                  <a:moveTo>
                    <a:pt x="0" y="0"/>
                  </a:moveTo>
                  <a:lnTo>
                    <a:pt x="2003329" y="0"/>
                  </a:lnTo>
                  <a:lnTo>
                    <a:pt x="194252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6F79125D-5B0A-FE4C-80B7-2407B4720354}"/>
                </a:ext>
              </a:extLst>
            </p:cNvPr>
            <p:cNvSpPr/>
            <p:nvPr/>
          </p:nvSpPr>
          <p:spPr>
            <a:xfrm>
              <a:off x="1823032" y="1583070"/>
              <a:ext cx="3075522" cy="3323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Информационная работа по всех регионах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присутствия УГМК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1A7B263-B42A-F346-A236-165A39914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Отбор учеников в Инженерную школу УГМК</a:t>
            </a:r>
            <a:endParaRPr lang="ru-RU" dirty="0"/>
          </a:p>
        </p:txBody>
      </p:sp>
      <p:sp>
        <p:nvSpPr>
          <p:cNvPr id="61" name="Текст 60">
            <a:extLst>
              <a:ext uri="{FF2B5EF4-FFF2-40B4-BE49-F238E27FC236}">
                <a16:creationId xmlns:a16="http://schemas.microsoft.com/office/drawing/2014/main" xmlns="" id="{D96C9166-F116-9642-B5EB-5B02C76732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xmlns="" id="{43F4E19D-3753-3C4A-AE57-8FBF122ECC88}"/>
              </a:ext>
            </a:extLst>
          </p:cNvPr>
          <p:cNvCxnSpPr>
            <a:cxnSpLocks/>
            <a:stCxn id="23" idx="3"/>
            <a:endCxn id="11" idx="0"/>
          </p:cNvCxnSpPr>
          <p:nvPr/>
        </p:nvCxnSpPr>
        <p:spPr>
          <a:xfrm>
            <a:off x="1605586" y="5201015"/>
            <a:ext cx="81971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ECFC88E3-87CE-7349-B3CA-A4BB84871C5F}"/>
              </a:ext>
            </a:extLst>
          </p:cNvPr>
          <p:cNvCxnSpPr>
            <a:cxnSpLocks/>
            <a:stCxn id="23" idx="2"/>
            <a:endCxn id="11" idx="1"/>
          </p:cNvCxnSpPr>
          <p:nvPr/>
        </p:nvCxnSpPr>
        <p:spPr>
          <a:xfrm flipH="1">
            <a:off x="4473353" y="5201015"/>
            <a:ext cx="81972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xmlns="" id="{3A878F80-506F-4B7E-8339-1E47F2B9AF28}"/>
              </a:ext>
            </a:extLst>
          </p:cNvPr>
          <p:cNvGrpSpPr/>
          <p:nvPr/>
        </p:nvGrpSpPr>
        <p:grpSpPr>
          <a:xfrm>
            <a:off x="1091972" y="1477958"/>
            <a:ext cx="550800" cy="550800"/>
            <a:chOff x="1091972" y="1477958"/>
            <a:chExt cx="550800" cy="550800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xmlns="" id="{1F64E493-484C-4DA3-B72C-EAC9C55830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1972" y="1477958"/>
              <a:ext cx="550800" cy="55080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xmlns="" id="{7E590DF9-D74D-4FFB-8BCE-2B157BEF0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1187372" y="1573358"/>
              <a:ext cx="360000" cy="360000"/>
            </a:xfrm>
            <a:prstGeom prst="rect">
              <a:avLst/>
            </a:prstGeom>
          </p:spPr>
        </p:pic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xmlns="" id="{53CD0805-3E6D-46E8-9EA6-95AC1DE9DB29}"/>
              </a:ext>
            </a:extLst>
          </p:cNvPr>
          <p:cNvGrpSpPr/>
          <p:nvPr/>
        </p:nvGrpSpPr>
        <p:grpSpPr>
          <a:xfrm>
            <a:off x="1960654" y="5531729"/>
            <a:ext cx="550305" cy="550305"/>
            <a:chOff x="1960654" y="5531729"/>
            <a:chExt cx="550305" cy="550305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xmlns="" id="{EEBAB07B-5220-4573-869B-3A5FF702C884}"/>
                </a:ext>
              </a:extLst>
            </p:cNvPr>
            <p:cNvSpPr/>
            <p:nvPr/>
          </p:nvSpPr>
          <p:spPr>
            <a:xfrm>
              <a:off x="1960654" y="5531729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xmlns="" id="{3EFF642D-FA13-4C67-B1D0-929FB4DB3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5"/>
                </a:ext>
              </a:extLst>
            </a:blip>
            <a:stretch>
              <a:fillRect/>
            </a:stretch>
          </p:blipFill>
          <p:spPr>
            <a:xfrm>
              <a:off x="2056506" y="5655884"/>
              <a:ext cx="358600" cy="358600"/>
            </a:xfrm>
            <a:prstGeom prst="rect">
              <a:avLst/>
            </a:prstGeom>
          </p:spPr>
        </p:pic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7EAA103A-565C-419B-A1CF-2A70B53A6E22}"/>
              </a:ext>
            </a:extLst>
          </p:cNvPr>
          <p:cNvGrpSpPr/>
          <p:nvPr/>
        </p:nvGrpSpPr>
        <p:grpSpPr>
          <a:xfrm>
            <a:off x="1713403" y="4496006"/>
            <a:ext cx="550305" cy="550305"/>
            <a:chOff x="1729142" y="1804128"/>
            <a:chExt cx="550305" cy="550305"/>
          </a:xfrm>
        </p:grpSpPr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xmlns="" id="{4349A203-B2C6-4616-8108-75934E383119}"/>
                </a:ext>
              </a:extLst>
            </p:cNvPr>
            <p:cNvSpPr/>
            <p:nvPr/>
          </p:nvSpPr>
          <p:spPr>
            <a:xfrm>
              <a:off x="1729142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8" name="Рисунок 45">
              <a:extLst>
                <a:ext uri="{FF2B5EF4-FFF2-40B4-BE49-F238E27FC236}">
                  <a16:creationId xmlns:a16="http://schemas.microsoft.com/office/drawing/2014/main" xmlns="" id="{2A9D4329-92D4-46AF-AC94-1903520C0C90}"/>
                </a:ext>
              </a:extLst>
            </p:cNvPr>
            <p:cNvGrpSpPr/>
            <p:nvPr/>
          </p:nvGrpSpPr>
          <p:grpSpPr>
            <a:xfrm>
              <a:off x="1857837" y="1922874"/>
              <a:ext cx="293100" cy="312720"/>
              <a:chOff x="1857837" y="1922874"/>
              <a:chExt cx="293100" cy="312720"/>
            </a:xfrm>
            <a:solidFill>
              <a:srgbClr val="000000"/>
            </a:solidFill>
          </p:grpSpPr>
          <p:sp>
            <p:nvSpPr>
              <p:cNvPr id="59" name="Рисунок 45">
                <a:extLst>
                  <a:ext uri="{FF2B5EF4-FFF2-40B4-BE49-F238E27FC236}">
                    <a16:creationId xmlns:a16="http://schemas.microsoft.com/office/drawing/2014/main" xmlns="" id="{5807B0DA-B52C-4B8E-9149-EF893D226078}"/>
                  </a:ext>
                </a:extLst>
              </p:cNvPr>
              <p:cNvSpPr/>
              <p:nvPr/>
            </p:nvSpPr>
            <p:spPr>
              <a:xfrm>
                <a:off x="1950586" y="1952263"/>
                <a:ext cx="170627" cy="170666"/>
              </a:xfrm>
              <a:custGeom>
                <a:avLst/>
                <a:gdLst>
                  <a:gd name="connsiteX0" fmla="*/ 142231 w 170627"/>
                  <a:gd name="connsiteY0" fmla="*/ 21756 h 170666"/>
                  <a:gd name="connsiteX1" fmla="*/ 80585 w 170627"/>
                  <a:gd name="connsiteY1" fmla="*/ 134 h 170666"/>
                  <a:gd name="connsiteX2" fmla="*/ 21711 w 170627"/>
                  <a:gd name="connsiteY2" fmla="*/ 28434 h 170666"/>
                  <a:gd name="connsiteX3" fmla="*/ 28396 w 170627"/>
                  <a:gd name="connsiteY3" fmla="*/ 148958 h 170666"/>
                  <a:gd name="connsiteX4" fmla="*/ 85272 w 170627"/>
                  <a:gd name="connsiteY4" fmla="*/ 170666 h 170666"/>
                  <a:gd name="connsiteX5" fmla="*/ 148920 w 170627"/>
                  <a:gd name="connsiteY5" fmla="*/ 142273 h 170666"/>
                  <a:gd name="connsiteX6" fmla="*/ 142231 w 170627"/>
                  <a:gd name="connsiteY6" fmla="*/ 21756 h 170666"/>
                  <a:gd name="connsiteX7" fmla="*/ 140867 w 170627"/>
                  <a:gd name="connsiteY7" fmla="*/ 135077 h 170666"/>
                  <a:gd name="connsiteX8" fmla="*/ 35596 w 170627"/>
                  <a:gd name="connsiteY8" fmla="*/ 140909 h 170666"/>
                  <a:gd name="connsiteX9" fmla="*/ 29753 w 170627"/>
                  <a:gd name="connsiteY9" fmla="*/ 35638 h 170666"/>
                  <a:gd name="connsiteX10" fmla="*/ 81179 w 170627"/>
                  <a:gd name="connsiteY10" fmla="*/ 10916 h 170666"/>
                  <a:gd name="connsiteX11" fmla="*/ 85402 w 170627"/>
                  <a:gd name="connsiteY11" fmla="*/ 10801 h 170666"/>
                  <a:gd name="connsiteX12" fmla="*/ 135028 w 170627"/>
                  <a:gd name="connsiteY12" fmla="*/ 29802 h 170666"/>
                  <a:gd name="connsiteX13" fmla="*/ 140867 w 170627"/>
                  <a:gd name="connsiteY13" fmla="*/ 135077 h 170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0627" h="170666">
                    <a:moveTo>
                      <a:pt x="142231" y="21756"/>
                    </a:moveTo>
                    <a:cubicBezTo>
                      <a:pt x="125236" y="6550"/>
                      <a:pt x="103308" y="-1129"/>
                      <a:pt x="80585" y="134"/>
                    </a:cubicBezTo>
                    <a:cubicBezTo>
                      <a:pt x="57822" y="1398"/>
                      <a:pt x="36913" y="11449"/>
                      <a:pt x="21711" y="28434"/>
                    </a:cubicBezTo>
                    <a:cubicBezTo>
                      <a:pt x="-9674" y="63505"/>
                      <a:pt x="-6675" y="117574"/>
                      <a:pt x="28396" y="148958"/>
                    </a:cubicBezTo>
                    <a:cubicBezTo>
                      <a:pt x="44661" y="163510"/>
                      <a:pt x="64997" y="170666"/>
                      <a:pt x="85272" y="170666"/>
                    </a:cubicBezTo>
                    <a:cubicBezTo>
                      <a:pt x="108726" y="170666"/>
                      <a:pt x="132087" y="161083"/>
                      <a:pt x="148920" y="142273"/>
                    </a:cubicBezTo>
                    <a:cubicBezTo>
                      <a:pt x="180301" y="107209"/>
                      <a:pt x="177303" y="53141"/>
                      <a:pt x="142231" y="21756"/>
                    </a:cubicBezTo>
                    <a:close/>
                    <a:moveTo>
                      <a:pt x="140867" y="135077"/>
                    </a:moveTo>
                    <a:cubicBezTo>
                      <a:pt x="113460" y="165709"/>
                      <a:pt x="66232" y="168330"/>
                      <a:pt x="35596" y="140909"/>
                    </a:cubicBezTo>
                    <a:cubicBezTo>
                      <a:pt x="4960" y="113495"/>
                      <a:pt x="2343" y="66270"/>
                      <a:pt x="29753" y="35638"/>
                    </a:cubicBezTo>
                    <a:cubicBezTo>
                      <a:pt x="43033" y="20798"/>
                      <a:pt x="61300" y="12018"/>
                      <a:pt x="81179" y="10916"/>
                    </a:cubicBezTo>
                    <a:cubicBezTo>
                      <a:pt x="82594" y="10841"/>
                      <a:pt x="83998" y="10801"/>
                      <a:pt x="85402" y="10801"/>
                    </a:cubicBezTo>
                    <a:cubicBezTo>
                      <a:pt x="103758" y="10801"/>
                      <a:pt x="121240" y="17465"/>
                      <a:pt x="135028" y="29802"/>
                    </a:cubicBezTo>
                    <a:cubicBezTo>
                      <a:pt x="165664" y="57220"/>
                      <a:pt x="168281" y="104444"/>
                      <a:pt x="140867" y="1350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Рисунок 45">
                <a:extLst>
                  <a:ext uri="{FF2B5EF4-FFF2-40B4-BE49-F238E27FC236}">
                    <a16:creationId xmlns:a16="http://schemas.microsoft.com/office/drawing/2014/main" xmlns="" id="{2CD888AB-114E-4839-B737-D2C86C70EB7F}"/>
                  </a:ext>
                </a:extLst>
              </p:cNvPr>
              <p:cNvSpPr/>
              <p:nvPr/>
            </p:nvSpPr>
            <p:spPr>
              <a:xfrm>
                <a:off x="1988556" y="1975720"/>
                <a:ext cx="90627" cy="29604"/>
              </a:xfrm>
              <a:custGeom>
                <a:avLst/>
                <a:gdLst>
                  <a:gd name="connsiteX0" fmla="*/ 1377 w 90627"/>
                  <a:gd name="connsiteY0" fmla="*/ 20604 h 29604"/>
                  <a:gd name="connsiteX1" fmla="*/ 1798 w 90627"/>
                  <a:gd name="connsiteY1" fmla="*/ 28229 h 29604"/>
                  <a:gd name="connsiteX2" fmla="*/ 5398 w 90627"/>
                  <a:gd name="connsiteY2" fmla="*/ 29604 h 29604"/>
                  <a:gd name="connsiteX3" fmla="*/ 9423 w 90627"/>
                  <a:gd name="connsiteY3" fmla="*/ 27804 h 29604"/>
                  <a:gd name="connsiteX4" fmla="*/ 81628 w 90627"/>
                  <a:gd name="connsiteY4" fmla="*/ 23798 h 29604"/>
                  <a:gd name="connsiteX5" fmla="*/ 89253 w 90627"/>
                  <a:gd name="connsiteY5" fmla="*/ 23376 h 29604"/>
                  <a:gd name="connsiteX6" fmla="*/ 88828 w 90627"/>
                  <a:gd name="connsiteY6" fmla="*/ 15752 h 29604"/>
                  <a:gd name="connsiteX7" fmla="*/ 1377 w 90627"/>
                  <a:gd name="connsiteY7" fmla="*/ 20604 h 2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627" h="29604">
                    <a:moveTo>
                      <a:pt x="1377" y="20604"/>
                    </a:moveTo>
                    <a:cubicBezTo>
                      <a:pt x="-614" y="22829"/>
                      <a:pt x="-423" y="26242"/>
                      <a:pt x="1798" y="28229"/>
                    </a:cubicBezTo>
                    <a:cubicBezTo>
                      <a:pt x="2832" y="29151"/>
                      <a:pt x="4117" y="29604"/>
                      <a:pt x="5398" y="29604"/>
                    </a:cubicBezTo>
                    <a:cubicBezTo>
                      <a:pt x="6882" y="29604"/>
                      <a:pt x="8358" y="29000"/>
                      <a:pt x="9423" y="27804"/>
                    </a:cubicBezTo>
                    <a:cubicBezTo>
                      <a:pt x="28230" y="6791"/>
                      <a:pt x="60615" y="4998"/>
                      <a:pt x="81628" y="23798"/>
                    </a:cubicBezTo>
                    <a:cubicBezTo>
                      <a:pt x="83850" y="25788"/>
                      <a:pt x="87259" y="25598"/>
                      <a:pt x="89253" y="23376"/>
                    </a:cubicBezTo>
                    <a:cubicBezTo>
                      <a:pt x="91240" y="21152"/>
                      <a:pt x="91050" y="17739"/>
                      <a:pt x="88828" y="15752"/>
                    </a:cubicBezTo>
                    <a:cubicBezTo>
                      <a:pt x="63376" y="-7022"/>
                      <a:pt x="24147" y="-4840"/>
                      <a:pt x="1377" y="2060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Рисунок 45">
                <a:extLst>
                  <a:ext uri="{FF2B5EF4-FFF2-40B4-BE49-F238E27FC236}">
                    <a16:creationId xmlns:a16="http://schemas.microsoft.com/office/drawing/2014/main" xmlns="" id="{238F6772-3465-44C3-87ED-0391F0C3B1D2}"/>
                  </a:ext>
                </a:extLst>
              </p:cNvPr>
              <p:cNvSpPr/>
              <p:nvPr/>
            </p:nvSpPr>
            <p:spPr>
              <a:xfrm>
                <a:off x="1857837" y="1922874"/>
                <a:ext cx="293100" cy="312720"/>
              </a:xfrm>
              <a:custGeom>
                <a:avLst/>
                <a:gdLst>
                  <a:gd name="connsiteX0" fmla="*/ 292890 w 293100"/>
                  <a:gd name="connsiteY0" fmla="*/ 107791 h 312720"/>
                  <a:gd name="connsiteX1" fmla="*/ 254521 w 293100"/>
                  <a:gd name="connsiteY1" fmla="*/ 28875 h 312720"/>
                  <a:gd name="connsiteX2" fmla="*/ 171584 w 293100"/>
                  <a:gd name="connsiteY2" fmla="*/ 205 h 312720"/>
                  <a:gd name="connsiteX3" fmla="*/ 92672 w 293100"/>
                  <a:gd name="connsiteY3" fmla="*/ 38574 h 312720"/>
                  <a:gd name="connsiteX4" fmla="*/ 98378 w 293100"/>
                  <a:gd name="connsiteY4" fmla="*/ 196696 h 312720"/>
                  <a:gd name="connsiteX5" fmla="*/ 79756 w 293100"/>
                  <a:gd name="connsiteY5" fmla="*/ 217944 h 312720"/>
                  <a:gd name="connsiteX6" fmla="*/ 73783 w 293100"/>
                  <a:gd name="connsiteY6" fmla="*/ 212648 h 312720"/>
                  <a:gd name="connsiteX7" fmla="*/ 66176 w 293100"/>
                  <a:gd name="connsiteY7" fmla="*/ 213087 h 312720"/>
                  <a:gd name="connsiteX8" fmla="*/ 1376 w 293100"/>
                  <a:gd name="connsiteY8" fmla="*/ 285501 h 312720"/>
                  <a:gd name="connsiteX9" fmla="*/ 8 w 293100"/>
                  <a:gd name="connsiteY9" fmla="*/ 289400 h 312720"/>
                  <a:gd name="connsiteX10" fmla="*/ 1798 w 293100"/>
                  <a:gd name="connsiteY10" fmla="*/ 293126 h 312720"/>
                  <a:gd name="connsiteX11" fmla="*/ 22156 w 293100"/>
                  <a:gd name="connsiteY11" fmla="*/ 311346 h 312720"/>
                  <a:gd name="connsiteX12" fmla="*/ 25756 w 293100"/>
                  <a:gd name="connsiteY12" fmla="*/ 312721 h 312720"/>
                  <a:gd name="connsiteX13" fmla="*/ 29780 w 293100"/>
                  <a:gd name="connsiteY13" fmla="*/ 310921 h 312720"/>
                  <a:gd name="connsiteX14" fmla="*/ 94667 w 293100"/>
                  <a:gd name="connsiteY14" fmla="*/ 238413 h 312720"/>
                  <a:gd name="connsiteX15" fmla="*/ 96035 w 293100"/>
                  <a:gd name="connsiteY15" fmla="*/ 234500 h 312720"/>
                  <a:gd name="connsiteX16" fmla="*/ 94228 w 293100"/>
                  <a:gd name="connsiteY16" fmla="*/ 230774 h 312720"/>
                  <a:gd name="connsiteX17" fmla="*/ 87838 w 293100"/>
                  <a:gd name="connsiteY17" fmla="*/ 225108 h 312720"/>
                  <a:gd name="connsiteX18" fmla="*/ 106450 w 293100"/>
                  <a:gd name="connsiteY18" fmla="*/ 203875 h 312720"/>
                  <a:gd name="connsiteX19" fmla="*/ 178291 w 293100"/>
                  <a:gd name="connsiteY19" fmla="*/ 229305 h 312720"/>
                  <a:gd name="connsiteX20" fmla="*/ 185308 w 293100"/>
                  <a:gd name="connsiteY20" fmla="*/ 229093 h 312720"/>
                  <a:gd name="connsiteX21" fmla="*/ 264223 w 293100"/>
                  <a:gd name="connsiteY21" fmla="*/ 190720 h 312720"/>
                  <a:gd name="connsiteX22" fmla="*/ 292890 w 293100"/>
                  <a:gd name="connsiteY22" fmla="*/ 107791 h 312720"/>
                  <a:gd name="connsiteX23" fmla="*/ 25334 w 293100"/>
                  <a:gd name="connsiteY23" fmla="*/ 299696 h 312720"/>
                  <a:gd name="connsiteX24" fmla="*/ 13026 w 293100"/>
                  <a:gd name="connsiteY24" fmla="*/ 288680 h 312720"/>
                  <a:gd name="connsiteX25" fmla="*/ 70640 w 293100"/>
                  <a:gd name="connsiteY25" fmla="*/ 224298 h 312720"/>
                  <a:gd name="connsiteX26" fmla="*/ 83003 w 293100"/>
                  <a:gd name="connsiteY26" fmla="*/ 235260 h 312720"/>
                  <a:gd name="connsiteX27" fmla="*/ 25334 w 293100"/>
                  <a:gd name="connsiteY27" fmla="*/ 299696 h 312720"/>
                  <a:gd name="connsiteX28" fmla="*/ 256141 w 293100"/>
                  <a:gd name="connsiteY28" fmla="*/ 183556 h 312720"/>
                  <a:gd name="connsiteX29" fmla="*/ 184660 w 293100"/>
                  <a:gd name="connsiteY29" fmla="*/ 218311 h 312720"/>
                  <a:gd name="connsiteX30" fmla="*/ 109538 w 293100"/>
                  <a:gd name="connsiteY30" fmla="*/ 192344 h 312720"/>
                  <a:gd name="connsiteX31" fmla="*/ 100754 w 293100"/>
                  <a:gd name="connsiteY31" fmla="*/ 45738 h 312720"/>
                  <a:gd name="connsiteX32" fmla="*/ 172236 w 293100"/>
                  <a:gd name="connsiteY32" fmla="*/ 10983 h 312720"/>
                  <a:gd name="connsiteX33" fmla="*/ 178590 w 293100"/>
                  <a:gd name="connsiteY33" fmla="*/ 10792 h 312720"/>
                  <a:gd name="connsiteX34" fmla="*/ 247361 w 293100"/>
                  <a:gd name="connsiteY34" fmla="*/ 36954 h 312720"/>
                  <a:gd name="connsiteX35" fmla="*/ 282115 w 293100"/>
                  <a:gd name="connsiteY35" fmla="*/ 108435 h 312720"/>
                  <a:gd name="connsiteX36" fmla="*/ 256141 w 293100"/>
                  <a:gd name="connsiteY36" fmla="*/ 183556 h 3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3100" h="312720">
                    <a:moveTo>
                      <a:pt x="292890" y="107791"/>
                    </a:moveTo>
                    <a:cubicBezTo>
                      <a:pt x="291058" y="77220"/>
                      <a:pt x="277432" y="49197"/>
                      <a:pt x="254521" y="28875"/>
                    </a:cubicBezTo>
                    <a:cubicBezTo>
                      <a:pt x="231611" y="8553"/>
                      <a:pt x="202184" y="-1599"/>
                      <a:pt x="171584" y="205"/>
                    </a:cubicBezTo>
                    <a:cubicBezTo>
                      <a:pt x="141017" y="2037"/>
                      <a:pt x="112991" y="15663"/>
                      <a:pt x="92672" y="38574"/>
                    </a:cubicBezTo>
                    <a:cubicBezTo>
                      <a:pt x="51938" y="84499"/>
                      <a:pt x="54869" y="154285"/>
                      <a:pt x="98378" y="196696"/>
                    </a:cubicBezTo>
                    <a:lnTo>
                      <a:pt x="79756" y="217944"/>
                    </a:lnTo>
                    <a:lnTo>
                      <a:pt x="73783" y="212648"/>
                    </a:lnTo>
                    <a:cubicBezTo>
                      <a:pt x="71555" y="210668"/>
                      <a:pt x="68156" y="210870"/>
                      <a:pt x="66176" y="213087"/>
                    </a:cubicBezTo>
                    <a:lnTo>
                      <a:pt x="1376" y="285501"/>
                    </a:lnTo>
                    <a:cubicBezTo>
                      <a:pt x="419" y="286567"/>
                      <a:pt x="-71" y="287971"/>
                      <a:pt x="8" y="289400"/>
                    </a:cubicBezTo>
                    <a:cubicBezTo>
                      <a:pt x="88" y="290829"/>
                      <a:pt x="732" y="292172"/>
                      <a:pt x="1798" y="293126"/>
                    </a:cubicBezTo>
                    <a:lnTo>
                      <a:pt x="22156" y="311346"/>
                    </a:lnTo>
                    <a:cubicBezTo>
                      <a:pt x="23189" y="312267"/>
                      <a:pt x="24474" y="312721"/>
                      <a:pt x="25756" y="312721"/>
                    </a:cubicBezTo>
                    <a:cubicBezTo>
                      <a:pt x="27239" y="312721"/>
                      <a:pt x="28715" y="312112"/>
                      <a:pt x="29780" y="310921"/>
                    </a:cubicBezTo>
                    <a:lnTo>
                      <a:pt x="94667" y="238413"/>
                    </a:lnTo>
                    <a:cubicBezTo>
                      <a:pt x="95624" y="237344"/>
                      <a:pt x="96118" y="235936"/>
                      <a:pt x="96035" y="234500"/>
                    </a:cubicBezTo>
                    <a:cubicBezTo>
                      <a:pt x="95952" y="233071"/>
                      <a:pt x="95300" y="231724"/>
                      <a:pt x="94228" y="230774"/>
                    </a:cubicBezTo>
                    <a:lnTo>
                      <a:pt x="87838" y="225108"/>
                    </a:lnTo>
                    <a:lnTo>
                      <a:pt x="106450" y="203875"/>
                    </a:lnTo>
                    <a:cubicBezTo>
                      <a:pt x="126908" y="220424"/>
                      <a:pt x="152026" y="229305"/>
                      <a:pt x="178291" y="229305"/>
                    </a:cubicBezTo>
                    <a:cubicBezTo>
                      <a:pt x="180620" y="229305"/>
                      <a:pt x="182964" y="229233"/>
                      <a:pt x="185308" y="229093"/>
                    </a:cubicBezTo>
                    <a:cubicBezTo>
                      <a:pt x="215875" y="227257"/>
                      <a:pt x="243901" y="213631"/>
                      <a:pt x="264223" y="190720"/>
                    </a:cubicBezTo>
                    <a:cubicBezTo>
                      <a:pt x="284545" y="167810"/>
                      <a:pt x="294722" y="138362"/>
                      <a:pt x="292890" y="107791"/>
                    </a:cubicBezTo>
                    <a:close/>
                    <a:moveTo>
                      <a:pt x="25334" y="299696"/>
                    </a:moveTo>
                    <a:lnTo>
                      <a:pt x="13026" y="288680"/>
                    </a:lnTo>
                    <a:lnTo>
                      <a:pt x="70640" y="224298"/>
                    </a:lnTo>
                    <a:lnTo>
                      <a:pt x="83003" y="235260"/>
                    </a:lnTo>
                    <a:lnTo>
                      <a:pt x="25334" y="299696"/>
                    </a:lnTo>
                    <a:close/>
                    <a:moveTo>
                      <a:pt x="256141" y="183556"/>
                    </a:moveTo>
                    <a:cubicBezTo>
                      <a:pt x="237734" y="204310"/>
                      <a:pt x="212347" y="216651"/>
                      <a:pt x="184660" y="218311"/>
                    </a:cubicBezTo>
                    <a:cubicBezTo>
                      <a:pt x="156976" y="220017"/>
                      <a:pt x="130292" y="210747"/>
                      <a:pt x="109538" y="192344"/>
                    </a:cubicBezTo>
                    <a:cubicBezTo>
                      <a:pt x="66698" y="154346"/>
                      <a:pt x="62756" y="88578"/>
                      <a:pt x="100754" y="45738"/>
                    </a:cubicBezTo>
                    <a:cubicBezTo>
                      <a:pt x="119161" y="24984"/>
                      <a:pt x="144548" y="12643"/>
                      <a:pt x="172236" y="10983"/>
                    </a:cubicBezTo>
                    <a:cubicBezTo>
                      <a:pt x="174360" y="10854"/>
                      <a:pt x="176477" y="10792"/>
                      <a:pt x="178590" y="10792"/>
                    </a:cubicBezTo>
                    <a:cubicBezTo>
                      <a:pt x="203984" y="10792"/>
                      <a:pt x="228198" y="19958"/>
                      <a:pt x="247361" y="36954"/>
                    </a:cubicBezTo>
                    <a:cubicBezTo>
                      <a:pt x="268115" y="55360"/>
                      <a:pt x="280456" y="80748"/>
                      <a:pt x="282115" y="108435"/>
                    </a:cubicBezTo>
                    <a:cubicBezTo>
                      <a:pt x="283771" y="136126"/>
                      <a:pt x="274544" y="162806"/>
                      <a:pt x="256141" y="1835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xmlns="" id="{B84F5952-6316-411B-8DAB-B631E9329D39}"/>
              </a:ext>
            </a:extLst>
          </p:cNvPr>
          <p:cNvGrpSpPr/>
          <p:nvPr/>
        </p:nvGrpSpPr>
        <p:grpSpPr>
          <a:xfrm>
            <a:off x="1478514" y="3484184"/>
            <a:ext cx="550305" cy="550305"/>
            <a:chOff x="818055" y="3942146"/>
            <a:chExt cx="550305" cy="550305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xmlns="" id="{F2AD6C9B-AC44-4A71-9BFF-DBB3FFD6E688}"/>
                </a:ext>
              </a:extLst>
            </p:cNvPr>
            <p:cNvSpPr/>
            <p:nvPr/>
          </p:nvSpPr>
          <p:spPr>
            <a:xfrm>
              <a:off x="818055" y="39421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9" name="Рисунок 66">
              <a:extLst>
                <a:ext uri="{FF2B5EF4-FFF2-40B4-BE49-F238E27FC236}">
                  <a16:creationId xmlns:a16="http://schemas.microsoft.com/office/drawing/2014/main" xmlns="" id="{FBDC11E6-AA2A-4F51-B5B7-C0F124E51221}"/>
                </a:ext>
              </a:extLst>
            </p:cNvPr>
            <p:cNvGrpSpPr/>
            <p:nvPr/>
          </p:nvGrpSpPr>
          <p:grpSpPr>
            <a:xfrm>
              <a:off x="928426" y="4116355"/>
              <a:ext cx="326006" cy="200227"/>
              <a:chOff x="928426" y="4116355"/>
              <a:chExt cx="326006" cy="200227"/>
            </a:xfrm>
            <a:solidFill>
              <a:srgbClr val="000000"/>
            </a:solidFill>
          </p:grpSpPr>
          <p:sp>
            <p:nvSpPr>
              <p:cNvPr id="70" name="Рисунок 66">
                <a:extLst>
                  <a:ext uri="{FF2B5EF4-FFF2-40B4-BE49-F238E27FC236}">
                    <a16:creationId xmlns:a16="http://schemas.microsoft.com/office/drawing/2014/main" xmlns="" id="{7B2FA1AD-035F-42E0-9376-6226812D3195}"/>
                  </a:ext>
                </a:extLst>
              </p:cNvPr>
              <p:cNvSpPr/>
              <p:nvPr/>
            </p:nvSpPr>
            <p:spPr>
              <a:xfrm>
                <a:off x="928426" y="4116355"/>
                <a:ext cx="326006" cy="200227"/>
              </a:xfrm>
              <a:custGeom>
                <a:avLst/>
                <a:gdLst>
                  <a:gd name="connsiteX0" fmla="*/ 320657 w 326006"/>
                  <a:gd name="connsiteY0" fmla="*/ 103438 h 200227"/>
                  <a:gd name="connsiteX1" fmla="*/ 220901 w 326006"/>
                  <a:gd name="connsiteY1" fmla="*/ 103438 h 200227"/>
                  <a:gd name="connsiteX2" fmla="*/ 220901 w 326006"/>
                  <a:gd name="connsiteY2" fmla="*/ 5347 h 200227"/>
                  <a:gd name="connsiteX3" fmla="*/ 215554 w 326006"/>
                  <a:gd name="connsiteY3" fmla="*/ 0 h 200227"/>
                  <a:gd name="connsiteX4" fmla="*/ 110449 w 326006"/>
                  <a:gd name="connsiteY4" fmla="*/ 0 h 200227"/>
                  <a:gd name="connsiteX5" fmla="*/ 105102 w 326006"/>
                  <a:gd name="connsiteY5" fmla="*/ 5347 h 200227"/>
                  <a:gd name="connsiteX6" fmla="*/ 105102 w 326006"/>
                  <a:gd name="connsiteY6" fmla="*/ 63178 h 200227"/>
                  <a:gd name="connsiteX7" fmla="*/ 5347 w 326006"/>
                  <a:gd name="connsiteY7" fmla="*/ 63178 h 200227"/>
                  <a:gd name="connsiteX8" fmla="*/ 0 w 326006"/>
                  <a:gd name="connsiteY8" fmla="*/ 68525 h 200227"/>
                  <a:gd name="connsiteX9" fmla="*/ 0 w 326006"/>
                  <a:gd name="connsiteY9" fmla="*/ 194881 h 200227"/>
                  <a:gd name="connsiteX10" fmla="*/ 5347 w 326006"/>
                  <a:gd name="connsiteY10" fmla="*/ 200228 h 200227"/>
                  <a:gd name="connsiteX11" fmla="*/ 320660 w 326006"/>
                  <a:gd name="connsiteY11" fmla="*/ 200228 h 200227"/>
                  <a:gd name="connsiteX12" fmla="*/ 326007 w 326006"/>
                  <a:gd name="connsiteY12" fmla="*/ 194881 h 200227"/>
                  <a:gd name="connsiteX13" fmla="*/ 326007 w 326006"/>
                  <a:gd name="connsiteY13" fmla="*/ 108784 h 200227"/>
                  <a:gd name="connsiteX14" fmla="*/ 320657 w 326006"/>
                  <a:gd name="connsiteY14" fmla="*/ 103438 h 200227"/>
                  <a:gd name="connsiteX15" fmla="*/ 315310 w 326006"/>
                  <a:gd name="connsiteY15" fmla="*/ 189535 h 200227"/>
                  <a:gd name="connsiteX16" fmla="*/ 10690 w 326006"/>
                  <a:gd name="connsiteY16" fmla="*/ 189535 h 200227"/>
                  <a:gd name="connsiteX17" fmla="*/ 10690 w 326006"/>
                  <a:gd name="connsiteY17" fmla="*/ 73871 h 200227"/>
                  <a:gd name="connsiteX18" fmla="*/ 110445 w 326006"/>
                  <a:gd name="connsiteY18" fmla="*/ 73871 h 200227"/>
                  <a:gd name="connsiteX19" fmla="*/ 115792 w 326006"/>
                  <a:gd name="connsiteY19" fmla="*/ 68525 h 200227"/>
                  <a:gd name="connsiteX20" fmla="*/ 115792 w 326006"/>
                  <a:gd name="connsiteY20" fmla="*/ 10693 h 200227"/>
                  <a:gd name="connsiteX21" fmla="*/ 210204 w 326006"/>
                  <a:gd name="connsiteY21" fmla="*/ 10693 h 200227"/>
                  <a:gd name="connsiteX22" fmla="*/ 210204 w 326006"/>
                  <a:gd name="connsiteY22" fmla="*/ 108784 h 200227"/>
                  <a:gd name="connsiteX23" fmla="*/ 215551 w 326006"/>
                  <a:gd name="connsiteY23" fmla="*/ 114131 h 200227"/>
                  <a:gd name="connsiteX24" fmla="*/ 315307 w 326006"/>
                  <a:gd name="connsiteY24" fmla="*/ 114131 h 200227"/>
                  <a:gd name="connsiteX25" fmla="*/ 315307 w 326006"/>
                  <a:gd name="connsiteY25" fmla="*/ 189535 h 200227"/>
                  <a:gd name="connsiteX26" fmla="*/ 315310 w 326006"/>
                  <a:gd name="connsiteY26" fmla="*/ 189535 h 20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6006" h="200227">
                    <a:moveTo>
                      <a:pt x="320657" y="103438"/>
                    </a:moveTo>
                    <a:lnTo>
                      <a:pt x="220901" y="103438"/>
                    </a:lnTo>
                    <a:lnTo>
                      <a:pt x="220901" y="5347"/>
                    </a:lnTo>
                    <a:cubicBezTo>
                      <a:pt x="220901" y="2392"/>
                      <a:pt x="218506" y="0"/>
                      <a:pt x="215554" y="0"/>
                    </a:cubicBezTo>
                    <a:lnTo>
                      <a:pt x="110449" y="0"/>
                    </a:lnTo>
                    <a:cubicBezTo>
                      <a:pt x="107497" y="0"/>
                      <a:pt x="105102" y="2392"/>
                      <a:pt x="105102" y="5347"/>
                    </a:cubicBezTo>
                    <a:lnTo>
                      <a:pt x="105102" y="63178"/>
                    </a:lnTo>
                    <a:lnTo>
                      <a:pt x="5347" y="63178"/>
                    </a:lnTo>
                    <a:cubicBezTo>
                      <a:pt x="2395" y="63178"/>
                      <a:pt x="0" y="65570"/>
                      <a:pt x="0" y="68525"/>
                    </a:cubicBezTo>
                    <a:lnTo>
                      <a:pt x="0" y="194881"/>
                    </a:lnTo>
                    <a:cubicBezTo>
                      <a:pt x="0" y="197832"/>
                      <a:pt x="2395" y="200228"/>
                      <a:pt x="5347" y="200228"/>
                    </a:cubicBezTo>
                    <a:lnTo>
                      <a:pt x="320660" y="200228"/>
                    </a:lnTo>
                    <a:cubicBezTo>
                      <a:pt x="323611" y="200228"/>
                      <a:pt x="326007" y="197832"/>
                      <a:pt x="326007" y="194881"/>
                    </a:cubicBezTo>
                    <a:lnTo>
                      <a:pt x="326007" y="108784"/>
                    </a:lnTo>
                    <a:cubicBezTo>
                      <a:pt x="326003" y="105833"/>
                      <a:pt x="323608" y="103438"/>
                      <a:pt x="320657" y="103438"/>
                    </a:cubicBezTo>
                    <a:close/>
                    <a:moveTo>
                      <a:pt x="315310" y="189535"/>
                    </a:moveTo>
                    <a:lnTo>
                      <a:pt x="10690" y="189535"/>
                    </a:lnTo>
                    <a:lnTo>
                      <a:pt x="10690" y="73871"/>
                    </a:lnTo>
                    <a:lnTo>
                      <a:pt x="110445" y="73871"/>
                    </a:lnTo>
                    <a:cubicBezTo>
                      <a:pt x="113396" y="73871"/>
                      <a:pt x="115792" y="71480"/>
                      <a:pt x="115792" y="68525"/>
                    </a:cubicBezTo>
                    <a:lnTo>
                      <a:pt x="115792" y="10693"/>
                    </a:lnTo>
                    <a:lnTo>
                      <a:pt x="210204" y="10693"/>
                    </a:lnTo>
                    <a:lnTo>
                      <a:pt x="210204" y="108784"/>
                    </a:lnTo>
                    <a:cubicBezTo>
                      <a:pt x="210204" y="111739"/>
                      <a:pt x="212600" y="114131"/>
                      <a:pt x="215551" y="114131"/>
                    </a:cubicBezTo>
                    <a:lnTo>
                      <a:pt x="315307" y="114131"/>
                    </a:lnTo>
                    <a:lnTo>
                      <a:pt x="315307" y="189535"/>
                    </a:lnTo>
                    <a:lnTo>
                      <a:pt x="315310" y="189535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Рисунок 66">
                <a:extLst>
                  <a:ext uri="{FF2B5EF4-FFF2-40B4-BE49-F238E27FC236}">
                    <a16:creationId xmlns:a16="http://schemas.microsoft.com/office/drawing/2014/main" xmlns="" id="{4617668E-8498-483C-9E73-6CBE6ACAF0E9}"/>
                  </a:ext>
                </a:extLst>
              </p:cNvPr>
              <p:cNvSpPr/>
              <p:nvPr/>
            </p:nvSpPr>
            <p:spPr>
              <a:xfrm>
                <a:off x="976114" y="4213694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Рисунок 66">
                <a:extLst>
                  <a:ext uri="{FF2B5EF4-FFF2-40B4-BE49-F238E27FC236}">
                    <a16:creationId xmlns:a16="http://schemas.microsoft.com/office/drawing/2014/main" xmlns="" id="{9C102F2B-1276-4529-9EA3-88FBB478DE1E}"/>
                  </a:ext>
                </a:extLst>
              </p:cNvPr>
              <p:cNvSpPr/>
              <p:nvPr/>
            </p:nvSpPr>
            <p:spPr>
              <a:xfrm>
                <a:off x="1083037" y="4149981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Рисунок 66">
                <a:extLst>
                  <a:ext uri="{FF2B5EF4-FFF2-40B4-BE49-F238E27FC236}">
                    <a16:creationId xmlns:a16="http://schemas.microsoft.com/office/drawing/2014/main" xmlns="" id="{84A0EED3-8D11-4E0D-B7B7-CB9780226AC9}"/>
                  </a:ext>
                </a:extLst>
              </p:cNvPr>
              <p:cNvSpPr/>
              <p:nvPr/>
            </p:nvSpPr>
            <p:spPr>
              <a:xfrm>
                <a:off x="1191750" y="4253665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xmlns="" id="{02009106-27A6-454F-BD66-4876545E2AF4}"/>
              </a:ext>
            </a:extLst>
          </p:cNvPr>
          <p:cNvGrpSpPr/>
          <p:nvPr/>
        </p:nvGrpSpPr>
        <p:grpSpPr>
          <a:xfrm>
            <a:off x="1272219" y="2456649"/>
            <a:ext cx="550305" cy="550305"/>
            <a:chOff x="1729142" y="2873137"/>
            <a:chExt cx="550305" cy="550305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xmlns="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xmlns="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92" name="Рисунок 61">
                <a:extLst>
                  <a:ext uri="{FF2B5EF4-FFF2-40B4-BE49-F238E27FC236}">
                    <a16:creationId xmlns:a16="http://schemas.microsoft.com/office/drawing/2014/main" xmlns="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Рисунок 61">
                <a:extLst>
                  <a:ext uri="{FF2B5EF4-FFF2-40B4-BE49-F238E27FC236}">
                    <a16:creationId xmlns:a16="http://schemas.microsoft.com/office/drawing/2014/main" xmlns="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Рисунок 61">
                <a:extLst>
                  <a:ext uri="{FF2B5EF4-FFF2-40B4-BE49-F238E27FC236}">
                    <a16:creationId xmlns:a16="http://schemas.microsoft.com/office/drawing/2014/main" xmlns="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Рисунок 61">
                <a:extLst>
                  <a:ext uri="{FF2B5EF4-FFF2-40B4-BE49-F238E27FC236}">
                    <a16:creationId xmlns:a16="http://schemas.microsoft.com/office/drawing/2014/main" xmlns="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Рисунок 61">
                <a:extLst>
                  <a:ext uri="{FF2B5EF4-FFF2-40B4-BE49-F238E27FC236}">
                    <a16:creationId xmlns:a16="http://schemas.microsoft.com/office/drawing/2014/main" xmlns="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Рисунок 61">
                <a:extLst>
                  <a:ext uri="{FF2B5EF4-FFF2-40B4-BE49-F238E27FC236}">
                    <a16:creationId xmlns:a16="http://schemas.microsoft.com/office/drawing/2014/main" xmlns="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Рисунок 61">
                <a:extLst>
                  <a:ext uri="{FF2B5EF4-FFF2-40B4-BE49-F238E27FC236}">
                    <a16:creationId xmlns:a16="http://schemas.microsoft.com/office/drawing/2014/main" xmlns="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Рисунок 61">
                <a:extLst>
                  <a:ext uri="{FF2B5EF4-FFF2-40B4-BE49-F238E27FC236}">
                    <a16:creationId xmlns:a16="http://schemas.microsoft.com/office/drawing/2014/main" xmlns="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Рисунок 61">
                <a:extLst>
                  <a:ext uri="{FF2B5EF4-FFF2-40B4-BE49-F238E27FC236}">
                    <a16:creationId xmlns:a16="http://schemas.microsoft.com/office/drawing/2014/main" xmlns="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Рисунок 61">
                <a:extLst>
                  <a:ext uri="{FF2B5EF4-FFF2-40B4-BE49-F238E27FC236}">
                    <a16:creationId xmlns:a16="http://schemas.microsoft.com/office/drawing/2014/main" xmlns="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Рисунок 61">
                <a:extLst>
                  <a:ext uri="{FF2B5EF4-FFF2-40B4-BE49-F238E27FC236}">
                    <a16:creationId xmlns:a16="http://schemas.microsoft.com/office/drawing/2014/main" xmlns="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Рисунок 61">
                <a:extLst>
                  <a:ext uri="{FF2B5EF4-FFF2-40B4-BE49-F238E27FC236}">
                    <a16:creationId xmlns:a16="http://schemas.microsoft.com/office/drawing/2014/main" xmlns="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Рисунок 61">
                <a:extLst>
                  <a:ext uri="{FF2B5EF4-FFF2-40B4-BE49-F238E27FC236}">
                    <a16:creationId xmlns:a16="http://schemas.microsoft.com/office/drawing/2014/main" xmlns="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Рисунок 61">
                <a:extLst>
                  <a:ext uri="{FF2B5EF4-FFF2-40B4-BE49-F238E27FC236}">
                    <a16:creationId xmlns:a16="http://schemas.microsoft.com/office/drawing/2014/main" xmlns="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2913733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8" name="Объект 207" hidden="1">
            <a:extLst>
              <a:ext uri="{FF2B5EF4-FFF2-40B4-BE49-F238E27FC236}">
                <a16:creationId xmlns:a16="http://schemas.microsoft.com/office/drawing/2014/main" xmlns="" id="{A4A71C4E-A61F-7F4E-865C-33834CF35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3271" name="Слайд think-cell" r:id="rId4" imgW="7761960" imgH="10047960" progId="">
              <p:embed/>
            </p:oleObj>
          </a:graphicData>
        </a:graphic>
      </p:graphicFrame>
      <p:sp>
        <p:nvSpPr>
          <p:cNvPr id="192" name="Заголовок 191">
            <a:extLst>
              <a:ext uri="{FF2B5EF4-FFF2-40B4-BE49-F238E27FC236}">
                <a16:creationId xmlns:a16="http://schemas.microsoft.com/office/drawing/2014/main" xmlns="" id="{582A4DED-367C-3342-BBEF-01E3FF4EA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Контингент</a:t>
            </a:r>
            <a:endParaRPr lang="ru-RU" dirty="0"/>
          </a:p>
        </p:txBody>
      </p:sp>
      <p:sp>
        <p:nvSpPr>
          <p:cNvPr id="220" name="Текст 219">
            <a:extLst>
              <a:ext uri="{FF2B5EF4-FFF2-40B4-BE49-F238E27FC236}">
                <a16:creationId xmlns:a16="http://schemas.microsoft.com/office/drawing/2014/main" xmlns="" id="{0D6AABA6-86D7-D740-8C1F-3A5026D33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53" name="Заголовок 1">
            <a:extLst>
              <a:ext uri="{FF2B5EF4-FFF2-40B4-BE49-F238E27FC236}">
                <a16:creationId xmlns:a16="http://schemas.microsoft.com/office/drawing/2014/main" xmlns="" id="{B314C663-A55C-174D-AA44-461BB971659B}"/>
              </a:ext>
            </a:extLst>
          </p:cNvPr>
          <p:cNvSpPr txBox="1">
            <a:spLocks/>
          </p:cNvSpPr>
          <p:nvPr/>
        </p:nvSpPr>
        <p:spPr>
          <a:xfrm>
            <a:off x="808906" y="402822"/>
            <a:ext cx="9072846" cy="6858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grpSp>
        <p:nvGrpSpPr>
          <p:cNvPr id="413" name="Группа 412">
            <a:extLst>
              <a:ext uri="{FF2B5EF4-FFF2-40B4-BE49-F238E27FC236}">
                <a16:creationId xmlns:a16="http://schemas.microsoft.com/office/drawing/2014/main" xmlns="" id="{45317F29-0188-41AD-A835-9141E987D50C}"/>
              </a:ext>
            </a:extLst>
          </p:cNvPr>
          <p:cNvGrpSpPr/>
          <p:nvPr/>
        </p:nvGrpSpPr>
        <p:grpSpPr>
          <a:xfrm>
            <a:off x="0" y="3600972"/>
            <a:ext cx="12192000" cy="360734"/>
            <a:chOff x="0" y="3600972"/>
            <a:chExt cx="12192000" cy="360734"/>
          </a:xfrm>
        </p:grpSpPr>
        <p:cxnSp>
          <p:nvCxnSpPr>
            <p:cNvPr id="414" name="Прямая соединительная линия 413">
              <a:extLst>
                <a:ext uri="{FF2B5EF4-FFF2-40B4-BE49-F238E27FC236}">
                  <a16:creationId xmlns:a16="http://schemas.microsoft.com/office/drawing/2014/main" xmlns="" id="{000AD041-5B4D-407D-B819-B74B2A4D6DB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90149"/>
              <a:ext cx="12192000" cy="0"/>
            </a:xfrm>
            <a:prstGeom prst="line">
              <a:avLst/>
            </a:prstGeom>
            <a:noFill/>
            <a:ln w="44450" cap="flat" cmpd="sng" algn="ctr">
              <a:solidFill>
                <a:srgbClr val="CD441F"/>
              </a:solidFill>
              <a:prstDash val="solid"/>
              <a:miter lim="800000"/>
            </a:ln>
            <a:effectLst/>
          </p:spPr>
        </p:cxnSp>
        <p:grpSp>
          <p:nvGrpSpPr>
            <p:cNvPr id="415" name="Группа 52">
              <a:extLst>
                <a:ext uri="{FF2B5EF4-FFF2-40B4-BE49-F238E27FC236}">
                  <a16:creationId xmlns:a16="http://schemas.microsoft.com/office/drawing/2014/main" xmlns="" id="{D5A1D307-2E34-42DD-8FAC-BFB5BFF294FC}"/>
                </a:ext>
              </a:extLst>
            </p:cNvPr>
            <p:cNvGrpSpPr/>
            <p:nvPr/>
          </p:nvGrpSpPr>
          <p:grpSpPr>
            <a:xfrm>
              <a:off x="60961" y="3600972"/>
              <a:ext cx="12070080" cy="70989"/>
              <a:chOff x="850899" y="1585732"/>
              <a:chExt cx="14047789" cy="879675"/>
            </a:xfrm>
          </p:grpSpPr>
          <p:cxnSp>
            <p:nvCxnSpPr>
              <p:cNvPr id="490" name="Прямая соединительная линия 64">
                <a:extLst>
                  <a:ext uri="{FF2B5EF4-FFF2-40B4-BE49-F238E27FC236}">
                    <a16:creationId xmlns:a16="http://schemas.microsoft.com/office/drawing/2014/main" xmlns="" id="{0E2A1DDD-6261-4B6C-925B-47BE0AE2214A}"/>
                  </a:ext>
                </a:extLst>
              </p:cNvPr>
              <p:cNvCxnSpPr/>
              <p:nvPr/>
            </p:nvCxnSpPr>
            <p:spPr>
              <a:xfrm>
                <a:off x="8508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1" name="Прямая соединительная линия 65">
                <a:extLst>
                  <a:ext uri="{FF2B5EF4-FFF2-40B4-BE49-F238E27FC236}">
                    <a16:creationId xmlns:a16="http://schemas.microsoft.com/office/drawing/2014/main" xmlns="" id="{537AA67F-F1B3-4E9C-9B46-EC90F373A9D9}"/>
                  </a:ext>
                </a:extLst>
              </p:cNvPr>
              <p:cNvCxnSpPr/>
              <p:nvPr/>
            </p:nvCxnSpPr>
            <p:spPr>
              <a:xfrm>
                <a:off x="10487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2" name="Прямая соединительная линия 66">
                <a:extLst>
                  <a:ext uri="{FF2B5EF4-FFF2-40B4-BE49-F238E27FC236}">
                    <a16:creationId xmlns:a16="http://schemas.microsoft.com/office/drawing/2014/main" xmlns="" id="{D98E50E5-2CE8-4B7A-B7BD-34A1FDE2107C}"/>
                  </a:ext>
                </a:extLst>
              </p:cNvPr>
              <p:cNvCxnSpPr/>
              <p:nvPr/>
            </p:nvCxnSpPr>
            <p:spPr>
              <a:xfrm>
                <a:off x="12466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3" name="Прямая соединительная линия 67">
                <a:extLst>
                  <a:ext uri="{FF2B5EF4-FFF2-40B4-BE49-F238E27FC236}">
                    <a16:creationId xmlns:a16="http://schemas.microsoft.com/office/drawing/2014/main" xmlns="" id="{29357B39-3A1E-42EA-983D-02FA079687E7}"/>
                  </a:ext>
                </a:extLst>
              </p:cNvPr>
              <p:cNvCxnSpPr/>
              <p:nvPr/>
            </p:nvCxnSpPr>
            <p:spPr>
              <a:xfrm>
                <a:off x="14444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4" name="Прямая соединительная линия 69">
                <a:extLst>
                  <a:ext uri="{FF2B5EF4-FFF2-40B4-BE49-F238E27FC236}">
                    <a16:creationId xmlns:a16="http://schemas.microsoft.com/office/drawing/2014/main" xmlns="" id="{A42DF45A-288F-4794-BD8E-FFAEB9037CF2}"/>
                  </a:ext>
                </a:extLst>
              </p:cNvPr>
              <p:cNvCxnSpPr/>
              <p:nvPr/>
            </p:nvCxnSpPr>
            <p:spPr>
              <a:xfrm>
                <a:off x="16423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5" name="Прямая соединительная линия 70">
                <a:extLst>
                  <a:ext uri="{FF2B5EF4-FFF2-40B4-BE49-F238E27FC236}">
                    <a16:creationId xmlns:a16="http://schemas.microsoft.com/office/drawing/2014/main" xmlns="" id="{0FA8B131-5454-41DD-B234-DA6B5390137D}"/>
                  </a:ext>
                </a:extLst>
              </p:cNvPr>
              <p:cNvCxnSpPr/>
              <p:nvPr/>
            </p:nvCxnSpPr>
            <p:spPr>
              <a:xfrm>
                <a:off x="18401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6" name="Прямая соединительная линия 71">
                <a:extLst>
                  <a:ext uri="{FF2B5EF4-FFF2-40B4-BE49-F238E27FC236}">
                    <a16:creationId xmlns:a16="http://schemas.microsoft.com/office/drawing/2014/main" xmlns="" id="{ADF993FB-9250-4422-8196-7FD8B3682CF3}"/>
                  </a:ext>
                </a:extLst>
              </p:cNvPr>
              <p:cNvCxnSpPr/>
              <p:nvPr/>
            </p:nvCxnSpPr>
            <p:spPr>
              <a:xfrm>
                <a:off x="20380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7" name="Прямая соединительная линия 72">
                <a:extLst>
                  <a:ext uri="{FF2B5EF4-FFF2-40B4-BE49-F238E27FC236}">
                    <a16:creationId xmlns:a16="http://schemas.microsoft.com/office/drawing/2014/main" xmlns="" id="{6FB726FD-CEBC-4937-B6D4-5FB5F22D4CDA}"/>
                  </a:ext>
                </a:extLst>
              </p:cNvPr>
              <p:cNvCxnSpPr/>
              <p:nvPr/>
            </p:nvCxnSpPr>
            <p:spPr>
              <a:xfrm>
                <a:off x="22358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8" name="Прямая соединительная линия 73">
                <a:extLst>
                  <a:ext uri="{FF2B5EF4-FFF2-40B4-BE49-F238E27FC236}">
                    <a16:creationId xmlns:a16="http://schemas.microsoft.com/office/drawing/2014/main" xmlns="" id="{53AE77C4-1997-4C2F-B3F5-98C18C7C7D72}"/>
                  </a:ext>
                </a:extLst>
              </p:cNvPr>
              <p:cNvCxnSpPr/>
              <p:nvPr/>
            </p:nvCxnSpPr>
            <p:spPr>
              <a:xfrm>
                <a:off x="24337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9" name="Прямая соединительная линия 74">
                <a:extLst>
                  <a:ext uri="{FF2B5EF4-FFF2-40B4-BE49-F238E27FC236}">
                    <a16:creationId xmlns:a16="http://schemas.microsoft.com/office/drawing/2014/main" xmlns="" id="{19F018A3-BEAA-4151-970D-32C4C0FF6ADF}"/>
                  </a:ext>
                </a:extLst>
              </p:cNvPr>
              <p:cNvCxnSpPr/>
              <p:nvPr/>
            </p:nvCxnSpPr>
            <p:spPr>
              <a:xfrm>
                <a:off x="26316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0" name="Прямая соединительная линия 75">
                <a:extLst>
                  <a:ext uri="{FF2B5EF4-FFF2-40B4-BE49-F238E27FC236}">
                    <a16:creationId xmlns:a16="http://schemas.microsoft.com/office/drawing/2014/main" xmlns="" id="{92C93B3F-9D78-4FF5-B268-F4C2FFFF9A25}"/>
                  </a:ext>
                </a:extLst>
              </p:cNvPr>
              <p:cNvCxnSpPr/>
              <p:nvPr/>
            </p:nvCxnSpPr>
            <p:spPr>
              <a:xfrm>
                <a:off x="28294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1" name="Прямая соединительная линия 76">
                <a:extLst>
                  <a:ext uri="{FF2B5EF4-FFF2-40B4-BE49-F238E27FC236}">
                    <a16:creationId xmlns:a16="http://schemas.microsoft.com/office/drawing/2014/main" xmlns="" id="{4AE2BAC1-1747-4173-9E78-98383C601366}"/>
                  </a:ext>
                </a:extLst>
              </p:cNvPr>
              <p:cNvCxnSpPr/>
              <p:nvPr/>
            </p:nvCxnSpPr>
            <p:spPr>
              <a:xfrm>
                <a:off x="30273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2" name="Прямая соединительная линия 77">
                <a:extLst>
                  <a:ext uri="{FF2B5EF4-FFF2-40B4-BE49-F238E27FC236}">
                    <a16:creationId xmlns:a16="http://schemas.microsoft.com/office/drawing/2014/main" xmlns="" id="{7569F1B8-E388-4770-B94D-AD798856A877}"/>
                  </a:ext>
                </a:extLst>
              </p:cNvPr>
              <p:cNvCxnSpPr/>
              <p:nvPr/>
            </p:nvCxnSpPr>
            <p:spPr>
              <a:xfrm>
                <a:off x="32251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3" name="Прямая соединительная линия 78">
                <a:extLst>
                  <a:ext uri="{FF2B5EF4-FFF2-40B4-BE49-F238E27FC236}">
                    <a16:creationId xmlns:a16="http://schemas.microsoft.com/office/drawing/2014/main" xmlns="" id="{0E6D5277-76B5-4861-9636-4E7DE0D73E6E}"/>
                  </a:ext>
                </a:extLst>
              </p:cNvPr>
              <p:cNvCxnSpPr/>
              <p:nvPr/>
            </p:nvCxnSpPr>
            <p:spPr>
              <a:xfrm>
                <a:off x="34230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4" name="Прямая соединительная линия 79">
                <a:extLst>
                  <a:ext uri="{FF2B5EF4-FFF2-40B4-BE49-F238E27FC236}">
                    <a16:creationId xmlns:a16="http://schemas.microsoft.com/office/drawing/2014/main" xmlns="" id="{769A46AF-B63C-423D-8D51-3B1D8A5056ED}"/>
                  </a:ext>
                </a:extLst>
              </p:cNvPr>
              <p:cNvCxnSpPr/>
              <p:nvPr/>
            </p:nvCxnSpPr>
            <p:spPr>
              <a:xfrm>
                <a:off x="36208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5" name="Прямая соединительная линия 80">
                <a:extLst>
                  <a:ext uri="{FF2B5EF4-FFF2-40B4-BE49-F238E27FC236}">
                    <a16:creationId xmlns:a16="http://schemas.microsoft.com/office/drawing/2014/main" xmlns="" id="{CE0B1C1A-5B94-43B7-AEB3-55F5FA79D387}"/>
                  </a:ext>
                </a:extLst>
              </p:cNvPr>
              <p:cNvCxnSpPr/>
              <p:nvPr/>
            </p:nvCxnSpPr>
            <p:spPr>
              <a:xfrm>
                <a:off x="38187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6" name="Прямая соединительная линия 81">
                <a:extLst>
                  <a:ext uri="{FF2B5EF4-FFF2-40B4-BE49-F238E27FC236}">
                    <a16:creationId xmlns:a16="http://schemas.microsoft.com/office/drawing/2014/main" xmlns="" id="{1F648D8D-273B-48EA-856A-E3FC0B007719}"/>
                  </a:ext>
                </a:extLst>
              </p:cNvPr>
              <p:cNvCxnSpPr/>
              <p:nvPr/>
            </p:nvCxnSpPr>
            <p:spPr>
              <a:xfrm>
                <a:off x="40165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7" name="Прямая соединительная линия 82">
                <a:extLst>
                  <a:ext uri="{FF2B5EF4-FFF2-40B4-BE49-F238E27FC236}">
                    <a16:creationId xmlns:a16="http://schemas.microsoft.com/office/drawing/2014/main" xmlns="" id="{A91D5A36-64E1-47D0-A84C-9CA3F0D84F8A}"/>
                  </a:ext>
                </a:extLst>
              </p:cNvPr>
              <p:cNvCxnSpPr/>
              <p:nvPr/>
            </p:nvCxnSpPr>
            <p:spPr>
              <a:xfrm>
                <a:off x="42144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8" name="Прямая соединительная линия 83">
                <a:extLst>
                  <a:ext uri="{FF2B5EF4-FFF2-40B4-BE49-F238E27FC236}">
                    <a16:creationId xmlns:a16="http://schemas.microsoft.com/office/drawing/2014/main" xmlns="" id="{F4AA4404-0BCC-4E55-BB04-2A524021E5D0}"/>
                  </a:ext>
                </a:extLst>
              </p:cNvPr>
              <p:cNvCxnSpPr/>
              <p:nvPr/>
            </p:nvCxnSpPr>
            <p:spPr>
              <a:xfrm>
                <a:off x="44123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9" name="Прямая соединительная линия 84">
                <a:extLst>
                  <a:ext uri="{FF2B5EF4-FFF2-40B4-BE49-F238E27FC236}">
                    <a16:creationId xmlns:a16="http://schemas.microsoft.com/office/drawing/2014/main" xmlns="" id="{73169212-CFCB-4698-91E7-E64A2465D09D}"/>
                  </a:ext>
                </a:extLst>
              </p:cNvPr>
              <p:cNvCxnSpPr/>
              <p:nvPr/>
            </p:nvCxnSpPr>
            <p:spPr>
              <a:xfrm>
                <a:off x="46101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0" name="Прямая соединительная линия 85">
                <a:extLst>
                  <a:ext uri="{FF2B5EF4-FFF2-40B4-BE49-F238E27FC236}">
                    <a16:creationId xmlns:a16="http://schemas.microsoft.com/office/drawing/2014/main" xmlns="" id="{BA659FCF-9ED7-4C0D-8D05-993D92F36080}"/>
                  </a:ext>
                </a:extLst>
              </p:cNvPr>
              <p:cNvCxnSpPr/>
              <p:nvPr/>
            </p:nvCxnSpPr>
            <p:spPr>
              <a:xfrm>
                <a:off x="48080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1" name="Прямая соединительная линия 86">
                <a:extLst>
                  <a:ext uri="{FF2B5EF4-FFF2-40B4-BE49-F238E27FC236}">
                    <a16:creationId xmlns:a16="http://schemas.microsoft.com/office/drawing/2014/main" xmlns="" id="{80F989D3-84C4-44DF-95B3-59B872C31766}"/>
                  </a:ext>
                </a:extLst>
              </p:cNvPr>
              <p:cNvCxnSpPr/>
              <p:nvPr/>
            </p:nvCxnSpPr>
            <p:spPr>
              <a:xfrm>
                <a:off x="50058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2" name="Прямая соединительная линия 87">
                <a:extLst>
                  <a:ext uri="{FF2B5EF4-FFF2-40B4-BE49-F238E27FC236}">
                    <a16:creationId xmlns:a16="http://schemas.microsoft.com/office/drawing/2014/main" xmlns="" id="{942C4D04-F831-40FB-A517-E0BBD992FAD5}"/>
                  </a:ext>
                </a:extLst>
              </p:cNvPr>
              <p:cNvCxnSpPr/>
              <p:nvPr/>
            </p:nvCxnSpPr>
            <p:spPr>
              <a:xfrm>
                <a:off x="52037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3" name="Прямая соединительная линия 88">
                <a:extLst>
                  <a:ext uri="{FF2B5EF4-FFF2-40B4-BE49-F238E27FC236}">
                    <a16:creationId xmlns:a16="http://schemas.microsoft.com/office/drawing/2014/main" xmlns="" id="{306C07FC-8A07-43CA-9D88-D0304C15E6AE}"/>
                  </a:ext>
                </a:extLst>
              </p:cNvPr>
              <p:cNvCxnSpPr/>
              <p:nvPr/>
            </p:nvCxnSpPr>
            <p:spPr>
              <a:xfrm>
                <a:off x="54015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4" name="Прямая соединительная линия 89">
                <a:extLst>
                  <a:ext uri="{FF2B5EF4-FFF2-40B4-BE49-F238E27FC236}">
                    <a16:creationId xmlns:a16="http://schemas.microsoft.com/office/drawing/2014/main" xmlns="" id="{3732CC18-12AD-4B30-AD77-F6856616EECA}"/>
                  </a:ext>
                </a:extLst>
              </p:cNvPr>
              <p:cNvCxnSpPr/>
              <p:nvPr/>
            </p:nvCxnSpPr>
            <p:spPr>
              <a:xfrm>
                <a:off x="55994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5" name="Прямая соединительная линия 90">
                <a:extLst>
                  <a:ext uri="{FF2B5EF4-FFF2-40B4-BE49-F238E27FC236}">
                    <a16:creationId xmlns:a16="http://schemas.microsoft.com/office/drawing/2014/main" xmlns="" id="{E1BD8AFD-5B3D-472C-9690-B739A8DE457E}"/>
                  </a:ext>
                </a:extLst>
              </p:cNvPr>
              <p:cNvCxnSpPr/>
              <p:nvPr/>
            </p:nvCxnSpPr>
            <p:spPr>
              <a:xfrm>
                <a:off x="57972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6" name="Прямая соединительная линия 91">
                <a:extLst>
                  <a:ext uri="{FF2B5EF4-FFF2-40B4-BE49-F238E27FC236}">
                    <a16:creationId xmlns:a16="http://schemas.microsoft.com/office/drawing/2014/main" xmlns="" id="{205E7CDC-DC22-4A77-AC2E-FEEF7FAD6FC8}"/>
                  </a:ext>
                </a:extLst>
              </p:cNvPr>
              <p:cNvCxnSpPr/>
              <p:nvPr/>
            </p:nvCxnSpPr>
            <p:spPr>
              <a:xfrm>
                <a:off x="59951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7" name="Прямая соединительная линия 92">
                <a:extLst>
                  <a:ext uri="{FF2B5EF4-FFF2-40B4-BE49-F238E27FC236}">
                    <a16:creationId xmlns:a16="http://schemas.microsoft.com/office/drawing/2014/main" xmlns="" id="{05110EDD-B225-4A66-B2D4-5350877718B9}"/>
                  </a:ext>
                </a:extLst>
              </p:cNvPr>
              <p:cNvCxnSpPr/>
              <p:nvPr/>
            </p:nvCxnSpPr>
            <p:spPr>
              <a:xfrm>
                <a:off x="61930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8" name="Прямая соединительная линия 93">
                <a:extLst>
                  <a:ext uri="{FF2B5EF4-FFF2-40B4-BE49-F238E27FC236}">
                    <a16:creationId xmlns:a16="http://schemas.microsoft.com/office/drawing/2014/main" xmlns="" id="{BBC1F8AC-9B0D-47DE-8564-A38379EE33ED}"/>
                  </a:ext>
                </a:extLst>
              </p:cNvPr>
              <p:cNvCxnSpPr/>
              <p:nvPr/>
            </p:nvCxnSpPr>
            <p:spPr>
              <a:xfrm>
                <a:off x="63908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9" name="Прямая соединительная линия 94">
                <a:extLst>
                  <a:ext uri="{FF2B5EF4-FFF2-40B4-BE49-F238E27FC236}">
                    <a16:creationId xmlns:a16="http://schemas.microsoft.com/office/drawing/2014/main" xmlns="" id="{EF94AAD3-FF12-42E5-8774-2BC99D3C5173}"/>
                  </a:ext>
                </a:extLst>
              </p:cNvPr>
              <p:cNvCxnSpPr/>
              <p:nvPr/>
            </p:nvCxnSpPr>
            <p:spPr>
              <a:xfrm>
                <a:off x="65887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0" name="Прямая соединительная линия 95">
                <a:extLst>
                  <a:ext uri="{FF2B5EF4-FFF2-40B4-BE49-F238E27FC236}">
                    <a16:creationId xmlns:a16="http://schemas.microsoft.com/office/drawing/2014/main" xmlns="" id="{03F6278F-EB3D-41DC-B3D3-A47F3A4D5C15}"/>
                  </a:ext>
                </a:extLst>
              </p:cNvPr>
              <p:cNvCxnSpPr/>
              <p:nvPr/>
            </p:nvCxnSpPr>
            <p:spPr>
              <a:xfrm>
                <a:off x="67865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1" name="Прямая соединительная линия 96">
                <a:extLst>
                  <a:ext uri="{FF2B5EF4-FFF2-40B4-BE49-F238E27FC236}">
                    <a16:creationId xmlns:a16="http://schemas.microsoft.com/office/drawing/2014/main" xmlns="" id="{FF3B3A67-3052-42BC-A44A-EF2758E23C51}"/>
                  </a:ext>
                </a:extLst>
              </p:cNvPr>
              <p:cNvCxnSpPr/>
              <p:nvPr/>
            </p:nvCxnSpPr>
            <p:spPr>
              <a:xfrm>
                <a:off x="69844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2" name="Прямая соединительная линия 97">
                <a:extLst>
                  <a:ext uri="{FF2B5EF4-FFF2-40B4-BE49-F238E27FC236}">
                    <a16:creationId xmlns:a16="http://schemas.microsoft.com/office/drawing/2014/main" xmlns="" id="{A86557E3-FA0C-40C1-A81A-1053FCB344FF}"/>
                  </a:ext>
                </a:extLst>
              </p:cNvPr>
              <p:cNvCxnSpPr/>
              <p:nvPr/>
            </p:nvCxnSpPr>
            <p:spPr>
              <a:xfrm>
                <a:off x="71822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3" name="Прямая соединительная линия 98">
                <a:extLst>
                  <a:ext uri="{FF2B5EF4-FFF2-40B4-BE49-F238E27FC236}">
                    <a16:creationId xmlns:a16="http://schemas.microsoft.com/office/drawing/2014/main" xmlns="" id="{1984E14B-836E-4F97-8745-DFC653D3C10D}"/>
                  </a:ext>
                </a:extLst>
              </p:cNvPr>
              <p:cNvCxnSpPr/>
              <p:nvPr/>
            </p:nvCxnSpPr>
            <p:spPr>
              <a:xfrm>
                <a:off x="73801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4" name="Прямая соединительная линия 99">
                <a:extLst>
                  <a:ext uri="{FF2B5EF4-FFF2-40B4-BE49-F238E27FC236}">
                    <a16:creationId xmlns:a16="http://schemas.microsoft.com/office/drawing/2014/main" xmlns="" id="{EFFFFFE0-3A90-451E-8681-0494437B3E4D}"/>
                  </a:ext>
                </a:extLst>
              </p:cNvPr>
              <p:cNvCxnSpPr/>
              <p:nvPr/>
            </p:nvCxnSpPr>
            <p:spPr>
              <a:xfrm>
                <a:off x="75780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5" name="Прямая соединительная линия 100">
                <a:extLst>
                  <a:ext uri="{FF2B5EF4-FFF2-40B4-BE49-F238E27FC236}">
                    <a16:creationId xmlns:a16="http://schemas.microsoft.com/office/drawing/2014/main" xmlns="" id="{508B7B7B-57A9-4DDA-88BC-86DE9C5A679C}"/>
                  </a:ext>
                </a:extLst>
              </p:cNvPr>
              <p:cNvCxnSpPr/>
              <p:nvPr/>
            </p:nvCxnSpPr>
            <p:spPr>
              <a:xfrm>
                <a:off x="77758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6" name="Прямая соединительная линия 101">
                <a:extLst>
                  <a:ext uri="{FF2B5EF4-FFF2-40B4-BE49-F238E27FC236}">
                    <a16:creationId xmlns:a16="http://schemas.microsoft.com/office/drawing/2014/main" xmlns="" id="{DB85727B-AE7C-4BC1-8DAB-7D21B069BE04}"/>
                  </a:ext>
                </a:extLst>
              </p:cNvPr>
              <p:cNvCxnSpPr/>
              <p:nvPr/>
            </p:nvCxnSpPr>
            <p:spPr>
              <a:xfrm>
                <a:off x="79737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7" name="Прямая соединительная линия 102">
                <a:extLst>
                  <a:ext uri="{FF2B5EF4-FFF2-40B4-BE49-F238E27FC236}">
                    <a16:creationId xmlns:a16="http://schemas.microsoft.com/office/drawing/2014/main" xmlns="" id="{3AB28937-0AA3-46D3-8E31-8F62568AACC2}"/>
                  </a:ext>
                </a:extLst>
              </p:cNvPr>
              <p:cNvCxnSpPr/>
              <p:nvPr/>
            </p:nvCxnSpPr>
            <p:spPr>
              <a:xfrm>
                <a:off x="81715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8" name="Прямая соединительная линия 103">
                <a:extLst>
                  <a:ext uri="{FF2B5EF4-FFF2-40B4-BE49-F238E27FC236}">
                    <a16:creationId xmlns:a16="http://schemas.microsoft.com/office/drawing/2014/main" xmlns="" id="{E5722450-FE1D-4E5A-B7FD-A5E109D5C63C}"/>
                  </a:ext>
                </a:extLst>
              </p:cNvPr>
              <p:cNvCxnSpPr/>
              <p:nvPr/>
            </p:nvCxnSpPr>
            <p:spPr>
              <a:xfrm>
                <a:off x="83694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9" name="Прямая соединительная линия 104">
                <a:extLst>
                  <a:ext uri="{FF2B5EF4-FFF2-40B4-BE49-F238E27FC236}">
                    <a16:creationId xmlns:a16="http://schemas.microsoft.com/office/drawing/2014/main" xmlns="" id="{7FF4AE58-6F81-423D-9BAC-AC8DD0158AD7}"/>
                  </a:ext>
                </a:extLst>
              </p:cNvPr>
              <p:cNvCxnSpPr/>
              <p:nvPr/>
            </p:nvCxnSpPr>
            <p:spPr>
              <a:xfrm>
                <a:off x="85672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0" name="Прямая соединительная линия 105">
                <a:extLst>
                  <a:ext uri="{FF2B5EF4-FFF2-40B4-BE49-F238E27FC236}">
                    <a16:creationId xmlns:a16="http://schemas.microsoft.com/office/drawing/2014/main" xmlns="" id="{15C8405A-DC8B-4A2D-BCDE-D863EA190852}"/>
                  </a:ext>
                </a:extLst>
              </p:cNvPr>
              <p:cNvCxnSpPr/>
              <p:nvPr/>
            </p:nvCxnSpPr>
            <p:spPr>
              <a:xfrm>
                <a:off x="87651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1" name="Прямая соединительная линия 106">
                <a:extLst>
                  <a:ext uri="{FF2B5EF4-FFF2-40B4-BE49-F238E27FC236}">
                    <a16:creationId xmlns:a16="http://schemas.microsoft.com/office/drawing/2014/main" xmlns="" id="{769F3F11-D4D6-42CD-ADE5-FDB9ACAF7761}"/>
                  </a:ext>
                </a:extLst>
              </p:cNvPr>
              <p:cNvCxnSpPr/>
              <p:nvPr/>
            </p:nvCxnSpPr>
            <p:spPr>
              <a:xfrm>
                <a:off x="89629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2" name="Прямая соединительная линия 107">
                <a:extLst>
                  <a:ext uri="{FF2B5EF4-FFF2-40B4-BE49-F238E27FC236}">
                    <a16:creationId xmlns:a16="http://schemas.microsoft.com/office/drawing/2014/main" xmlns="" id="{F9BB3497-BC30-4EEE-A120-0A69AEEECEF2}"/>
                  </a:ext>
                </a:extLst>
              </p:cNvPr>
              <p:cNvCxnSpPr/>
              <p:nvPr/>
            </p:nvCxnSpPr>
            <p:spPr>
              <a:xfrm>
                <a:off x="91608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3" name="Прямая соединительная линия 108">
                <a:extLst>
                  <a:ext uri="{FF2B5EF4-FFF2-40B4-BE49-F238E27FC236}">
                    <a16:creationId xmlns:a16="http://schemas.microsoft.com/office/drawing/2014/main" xmlns="" id="{48C947FE-FF95-4B89-87AE-3D252980785E}"/>
                  </a:ext>
                </a:extLst>
              </p:cNvPr>
              <p:cNvCxnSpPr/>
              <p:nvPr/>
            </p:nvCxnSpPr>
            <p:spPr>
              <a:xfrm>
                <a:off x="93587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4" name="Прямая соединительная линия 109">
                <a:extLst>
                  <a:ext uri="{FF2B5EF4-FFF2-40B4-BE49-F238E27FC236}">
                    <a16:creationId xmlns:a16="http://schemas.microsoft.com/office/drawing/2014/main" xmlns="" id="{ABA23DD1-135B-4809-A8EC-DE563A7A20DB}"/>
                  </a:ext>
                </a:extLst>
              </p:cNvPr>
              <p:cNvCxnSpPr/>
              <p:nvPr/>
            </p:nvCxnSpPr>
            <p:spPr>
              <a:xfrm>
                <a:off x="95565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5" name="Прямая соединительная линия 110">
                <a:extLst>
                  <a:ext uri="{FF2B5EF4-FFF2-40B4-BE49-F238E27FC236}">
                    <a16:creationId xmlns:a16="http://schemas.microsoft.com/office/drawing/2014/main" xmlns="" id="{94C93735-5483-4627-A278-CD4936016F7F}"/>
                  </a:ext>
                </a:extLst>
              </p:cNvPr>
              <p:cNvCxnSpPr/>
              <p:nvPr/>
            </p:nvCxnSpPr>
            <p:spPr>
              <a:xfrm>
                <a:off x="97544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6" name="Прямая соединительная линия 111">
                <a:extLst>
                  <a:ext uri="{FF2B5EF4-FFF2-40B4-BE49-F238E27FC236}">
                    <a16:creationId xmlns:a16="http://schemas.microsoft.com/office/drawing/2014/main" xmlns="" id="{D3645227-C76B-4FD5-87C8-FD9B24C49A26}"/>
                  </a:ext>
                </a:extLst>
              </p:cNvPr>
              <p:cNvCxnSpPr/>
              <p:nvPr/>
            </p:nvCxnSpPr>
            <p:spPr>
              <a:xfrm>
                <a:off x="99522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7" name="Прямая соединительная линия 112">
                <a:extLst>
                  <a:ext uri="{FF2B5EF4-FFF2-40B4-BE49-F238E27FC236}">
                    <a16:creationId xmlns:a16="http://schemas.microsoft.com/office/drawing/2014/main" xmlns="" id="{0362ED3A-2570-4251-8317-44E246859B7F}"/>
                  </a:ext>
                </a:extLst>
              </p:cNvPr>
              <p:cNvCxnSpPr/>
              <p:nvPr/>
            </p:nvCxnSpPr>
            <p:spPr>
              <a:xfrm>
                <a:off x="101501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8" name="Прямая соединительная линия 113">
                <a:extLst>
                  <a:ext uri="{FF2B5EF4-FFF2-40B4-BE49-F238E27FC236}">
                    <a16:creationId xmlns:a16="http://schemas.microsoft.com/office/drawing/2014/main" xmlns="" id="{3D710B76-E73A-4804-AC1A-A1D7986057BA}"/>
                  </a:ext>
                </a:extLst>
              </p:cNvPr>
              <p:cNvCxnSpPr/>
              <p:nvPr/>
            </p:nvCxnSpPr>
            <p:spPr>
              <a:xfrm>
                <a:off x="103479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9" name="Прямая соединительная линия 114">
                <a:extLst>
                  <a:ext uri="{FF2B5EF4-FFF2-40B4-BE49-F238E27FC236}">
                    <a16:creationId xmlns:a16="http://schemas.microsoft.com/office/drawing/2014/main" xmlns="" id="{8EFF27CC-4383-439C-AF1F-04FC01C959A5}"/>
                  </a:ext>
                </a:extLst>
              </p:cNvPr>
              <p:cNvCxnSpPr/>
              <p:nvPr/>
            </p:nvCxnSpPr>
            <p:spPr>
              <a:xfrm>
                <a:off x="105458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0" name="Прямая соединительная линия 115">
                <a:extLst>
                  <a:ext uri="{FF2B5EF4-FFF2-40B4-BE49-F238E27FC236}">
                    <a16:creationId xmlns:a16="http://schemas.microsoft.com/office/drawing/2014/main" xmlns="" id="{8CE8E261-C1C3-4047-9552-B1EB5B860383}"/>
                  </a:ext>
                </a:extLst>
              </p:cNvPr>
              <p:cNvCxnSpPr/>
              <p:nvPr/>
            </p:nvCxnSpPr>
            <p:spPr>
              <a:xfrm>
                <a:off x="107436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1" name="Прямая соединительная линия 116">
                <a:extLst>
                  <a:ext uri="{FF2B5EF4-FFF2-40B4-BE49-F238E27FC236}">
                    <a16:creationId xmlns:a16="http://schemas.microsoft.com/office/drawing/2014/main" xmlns="" id="{CFB7C57C-FAC1-4BCB-9A8B-D5A061DDCDAE}"/>
                  </a:ext>
                </a:extLst>
              </p:cNvPr>
              <p:cNvCxnSpPr/>
              <p:nvPr/>
            </p:nvCxnSpPr>
            <p:spPr>
              <a:xfrm>
                <a:off x="109415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2" name="Прямая соединительная линия 117">
                <a:extLst>
                  <a:ext uri="{FF2B5EF4-FFF2-40B4-BE49-F238E27FC236}">
                    <a16:creationId xmlns:a16="http://schemas.microsoft.com/office/drawing/2014/main" xmlns="" id="{96FE2E16-2309-44BE-99BA-96EC58040FB4}"/>
                  </a:ext>
                </a:extLst>
              </p:cNvPr>
              <p:cNvCxnSpPr/>
              <p:nvPr/>
            </p:nvCxnSpPr>
            <p:spPr>
              <a:xfrm>
                <a:off x="111394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3" name="Прямая соединительная линия 118">
                <a:extLst>
                  <a:ext uri="{FF2B5EF4-FFF2-40B4-BE49-F238E27FC236}">
                    <a16:creationId xmlns:a16="http://schemas.microsoft.com/office/drawing/2014/main" xmlns="" id="{D6377520-7A79-48E7-B461-548CBB76EDF6}"/>
                  </a:ext>
                </a:extLst>
              </p:cNvPr>
              <p:cNvCxnSpPr/>
              <p:nvPr/>
            </p:nvCxnSpPr>
            <p:spPr>
              <a:xfrm>
                <a:off x="113372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4" name="Прямая соединительная линия 119">
                <a:extLst>
                  <a:ext uri="{FF2B5EF4-FFF2-40B4-BE49-F238E27FC236}">
                    <a16:creationId xmlns:a16="http://schemas.microsoft.com/office/drawing/2014/main" xmlns="" id="{FB9CE3DB-1EBE-4957-9381-512F09FE1641}"/>
                  </a:ext>
                </a:extLst>
              </p:cNvPr>
              <p:cNvCxnSpPr/>
              <p:nvPr/>
            </p:nvCxnSpPr>
            <p:spPr>
              <a:xfrm>
                <a:off x="115351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5" name="Прямая соединительная линия 120">
                <a:extLst>
                  <a:ext uri="{FF2B5EF4-FFF2-40B4-BE49-F238E27FC236}">
                    <a16:creationId xmlns:a16="http://schemas.microsoft.com/office/drawing/2014/main" xmlns="" id="{D44CFC41-3DE3-450F-B6D7-E1A9854B04E8}"/>
                  </a:ext>
                </a:extLst>
              </p:cNvPr>
              <p:cNvCxnSpPr/>
              <p:nvPr/>
            </p:nvCxnSpPr>
            <p:spPr>
              <a:xfrm>
                <a:off x="117329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6" name="Прямая соединительная линия 121">
                <a:extLst>
                  <a:ext uri="{FF2B5EF4-FFF2-40B4-BE49-F238E27FC236}">
                    <a16:creationId xmlns:a16="http://schemas.microsoft.com/office/drawing/2014/main" xmlns="" id="{5C5AB7C9-F9F8-4867-9A99-F7CA39FCE2A2}"/>
                  </a:ext>
                </a:extLst>
              </p:cNvPr>
              <p:cNvCxnSpPr/>
              <p:nvPr/>
            </p:nvCxnSpPr>
            <p:spPr>
              <a:xfrm>
                <a:off x="119308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7" name="Прямая соединительная линия 122">
                <a:extLst>
                  <a:ext uri="{FF2B5EF4-FFF2-40B4-BE49-F238E27FC236}">
                    <a16:creationId xmlns:a16="http://schemas.microsoft.com/office/drawing/2014/main" xmlns="" id="{D4B64904-86A2-4378-B382-EACD885E7D16}"/>
                  </a:ext>
                </a:extLst>
              </p:cNvPr>
              <p:cNvCxnSpPr/>
              <p:nvPr/>
            </p:nvCxnSpPr>
            <p:spPr>
              <a:xfrm>
                <a:off x="121286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8" name="Прямая соединительная линия 123">
                <a:extLst>
                  <a:ext uri="{FF2B5EF4-FFF2-40B4-BE49-F238E27FC236}">
                    <a16:creationId xmlns:a16="http://schemas.microsoft.com/office/drawing/2014/main" xmlns="" id="{2D51117E-0D56-43AA-89F5-89630DB95ECD}"/>
                  </a:ext>
                </a:extLst>
              </p:cNvPr>
              <p:cNvCxnSpPr/>
              <p:nvPr/>
            </p:nvCxnSpPr>
            <p:spPr>
              <a:xfrm>
                <a:off x="123265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9" name="Прямая соединительная линия 124">
                <a:extLst>
                  <a:ext uri="{FF2B5EF4-FFF2-40B4-BE49-F238E27FC236}">
                    <a16:creationId xmlns:a16="http://schemas.microsoft.com/office/drawing/2014/main" xmlns="" id="{1B9E3CC8-D698-492D-8F02-545B2B3634E1}"/>
                  </a:ext>
                </a:extLst>
              </p:cNvPr>
              <p:cNvCxnSpPr/>
              <p:nvPr/>
            </p:nvCxnSpPr>
            <p:spPr>
              <a:xfrm>
                <a:off x="125244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0" name="Прямая соединительная линия 125">
                <a:extLst>
                  <a:ext uri="{FF2B5EF4-FFF2-40B4-BE49-F238E27FC236}">
                    <a16:creationId xmlns:a16="http://schemas.microsoft.com/office/drawing/2014/main" xmlns="" id="{EDAEE825-3280-4A6A-AB21-CE61EC772E86}"/>
                  </a:ext>
                </a:extLst>
              </p:cNvPr>
              <p:cNvCxnSpPr/>
              <p:nvPr/>
            </p:nvCxnSpPr>
            <p:spPr>
              <a:xfrm>
                <a:off x="127222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1" name="Прямая соединительная линия 126">
                <a:extLst>
                  <a:ext uri="{FF2B5EF4-FFF2-40B4-BE49-F238E27FC236}">
                    <a16:creationId xmlns:a16="http://schemas.microsoft.com/office/drawing/2014/main" xmlns="" id="{AD965918-F910-42BA-8D6C-F0DCAF0FDBA8}"/>
                  </a:ext>
                </a:extLst>
              </p:cNvPr>
              <p:cNvCxnSpPr/>
              <p:nvPr/>
            </p:nvCxnSpPr>
            <p:spPr>
              <a:xfrm>
                <a:off x="129201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2" name="Прямая соединительная линия 127">
                <a:extLst>
                  <a:ext uri="{FF2B5EF4-FFF2-40B4-BE49-F238E27FC236}">
                    <a16:creationId xmlns:a16="http://schemas.microsoft.com/office/drawing/2014/main" xmlns="" id="{A7E3807A-E6B8-45AA-8A95-EDD15C3B8B7E}"/>
                  </a:ext>
                </a:extLst>
              </p:cNvPr>
              <p:cNvCxnSpPr/>
              <p:nvPr/>
            </p:nvCxnSpPr>
            <p:spPr>
              <a:xfrm>
                <a:off x="131179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3" name="Прямая соединительная линия 128">
                <a:extLst>
                  <a:ext uri="{FF2B5EF4-FFF2-40B4-BE49-F238E27FC236}">
                    <a16:creationId xmlns:a16="http://schemas.microsoft.com/office/drawing/2014/main" xmlns="" id="{D48A4D5E-D5FA-473C-BD29-411F1908E19B}"/>
                  </a:ext>
                </a:extLst>
              </p:cNvPr>
              <p:cNvCxnSpPr/>
              <p:nvPr/>
            </p:nvCxnSpPr>
            <p:spPr>
              <a:xfrm>
                <a:off x="133158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4" name="Прямая соединительная линия 129">
                <a:extLst>
                  <a:ext uri="{FF2B5EF4-FFF2-40B4-BE49-F238E27FC236}">
                    <a16:creationId xmlns:a16="http://schemas.microsoft.com/office/drawing/2014/main" xmlns="" id="{034DE4E2-22EE-45DC-B214-543D29DFFE89}"/>
                  </a:ext>
                </a:extLst>
              </p:cNvPr>
              <p:cNvCxnSpPr/>
              <p:nvPr/>
            </p:nvCxnSpPr>
            <p:spPr>
              <a:xfrm>
                <a:off x="135136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5" name="Прямая соединительная линия 130">
                <a:extLst>
                  <a:ext uri="{FF2B5EF4-FFF2-40B4-BE49-F238E27FC236}">
                    <a16:creationId xmlns:a16="http://schemas.microsoft.com/office/drawing/2014/main" xmlns="" id="{3B744684-A0E7-4E10-A54C-756B286B29A2}"/>
                  </a:ext>
                </a:extLst>
              </p:cNvPr>
              <p:cNvCxnSpPr/>
              <p:nvPr/>
            </p:nvCxnSpPr>
            <p:spPr>
              <a:xfrm>
                <a:off x="137115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6" name="Прямая соединительная линия 131">
                <a:extLst>
                  <a:ext uri="{FF2B5EF4-FFF2-40B4-BE49-F238E27FC236}">
                    <a16:creationId xmlns:a16="http://schemas.microsoft.com/office/drawing/2014/main" xmlns="" id="{2B0BF02F-1724-4BA5-AE3D-F9843D016CCC}"/>
                  </a:ext>
                </a:extLst>
              </p:cNvPr>
              <p:cNvCxnSpPr/>
              <p:nvPr/>
            </p:nvCxnSpPr>
            <p:spPr>
              <a:xfrm>
                <a:off x="139093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7" name="Прямая соединительная линия 132">
                <a:extLst>
                  <a:ext uri="{FF2B5EF4-FFF2-40B4-BE49-F238E27FC236}">
                    <a16:creationId xmlns:a16="http://schemas.microsoft.com/office/drawing/2014/main" xmlns="" id="{AC2249E5-B721-4C16-9574-262C0E14F05A}"/>
                  </a:ext>
                </a:extLst>
              </p:cNvPr>
              <p:cNvCxnSpPr/>
              <p:nvPr/>
            </p:nvCxnSpPr>
            <p:spPr>
              <a:xfrm>
                <a:off x="141072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8" name="Прямая соединительная линия 133">
                <a:extLst>
                  <a:ext uri="{FF2B5EF4-FFF2-40B4-BE49-F238E27FC236}">
                    <a16:creationId xmlns:a16="http://schemas.microsoft.com/office/drawing/2014/main" xmlns="" id="{529726C1-0EC1-4FDF-9D76-AE1AE168985E}"/>
                  </a:ext>
                </a:extLst>
              </p:cNvPr>
              <p:cNvCxnSpPr/>
              <p:nvPr/>
            </p:nvCxnSpPr>
            <p:spPr>
              <a:xfrm>
                <a:off x="143051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9" name="Прямая соединительная линия 134">
                <a:extLst>
                  <a:ext uri="{FF2B5EF4-FFF2-40B4-BE49-F238E27FC236}">
                    <a16:creationId xmlns:a16="http://schemas.microsoft.com/office/drawing/2014/main" xmlns="" id="{8C653712-EC92-46F2-89E8-759F044F8F90}"/>
                  </a:ext>
                </a:extLst>
              </p:cNvPr>
              <p:cNvCxnSpPr/>
              <p:nvPr/>
            </p:nvCxnSpPr>
            <p:spPr>
              <a:xfrm>
                <a:off x="145029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60" name="Прямая соединительная линия 135">
                <a:extLst>
                  <a:ext uri="{FF2B5EF4-FFF2-40B4-BE49-F238E27FC236}">
                    <a16:creationId xmlns:a16="http://schemas.microsoft.com/office/drawing/2014/main" xmlns="" id="{2522283D-432E-46EB-AA63-F0A52FE3F298}"/>
                  </a:ext>
                </a:extLst>
              </p:cNvPr>
              <p:cNvCxnSpPr/>
              <p:nvPr/>
            </p:nvCxnSpPr>
            <p:spPr>
              <a:xfrm>
                <a:off x="147008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61" name="Прямая соединительная линия 136">
                <a:extLst>
                  <a:ext uri="{FF2B5EF4-FFF2-40B4-BE49-F238E27FC236}">
                    <a16:creationId xmlns:a16="http://schemas.microsoft.com/office/drawing/2014/main" xmlns="" id="{796B1465-B6A0-482F-A47C-60C8ADD12397}"/>
                  </a:ext>
                </a:extLst>
              </p:cNvPr>
              <p:cNvCxnSpPr/>
              <p:nvPr/>
            </p:nvCxnSpPr>
            <p:spPr>
              <a:xfrm>
                <a:off x="14898688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416" name="Группа 52">
              <a:extLst>
                <a:ext uri="{FF2B5EF4-FFF2-40B4-BE49-F238E27FC236}">
                  <a16:creationId xmlns:a16="http://schemas.microsoft.com/office/drawing/2014/main" xmlns="" id="{ED5E778E-F4A0-478B-93B6-6A2D746C6CA0}"/>
                </a:ext>
              </a:extLst>
            </p:cNvPr>
            <p:cNvGrpSpPr/>
            <p:nvPr/>
          </p:nvGrpSpPr>
          <p:grpSpPr>
            <a:xfrm>
              <a:off x="60961" y="3890717"/>
              <a:ext cx="12070080" cy="70989"/>
              <a:chOff x="850899" y="1585732"/>
              <a:chExt cx="14047789" cy="879675"/>
            </a:xfrm>
          </p:grpSpPr>
          <p:cxnSp>
            <p:nvCxnSpPr>
              <p:cNvPr id="418" name="Прямая соединительная линия 64">
                <a:extLst>
                  <a:ext uri="{FF2B5EF4-FFF2-40B4-BE49-F238E27FC236}">
                    <a16:creationId xmlns:a16="http://schemas.microsoft.com/office/drawing/2014/main" xmlns="" id="{2D7C4A4D-3BB6-4809-8719-483B94C16C3E}"/>
                  </a:ext>
                </a:extLst>
              </p:cNvPr>
              <p:cNvCxnSpPr/>
              <p:nvPr/>
            </p:nvCxnSpPr>
            <p:spPr>
              <a:xfrm>
                <a:off x="8508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9" name="Прямая соединительная линия 65">
                <a:extLst>
                  <a:ext uri="{FF2B5EF4-FFF2-40B4-BE49-F238E27FC236}">
                    <a16:creationId xmlns:a16="http://schemas.microsoft.com/office/drawing/2014/main" xmlns="" id="{92596E5C-39E5-40EC-941D-B079F584402A}"/>
                  </a:ext>
                </a:extLst>
              </p:cNvPr>
              <p:cNvCxnSpPr/>
              <p:nvPr/>
            </p:nvCxnSpPr>
            <p:spPr>
              <a:xfrm>
                <a:off x="10487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0" name="Прямая соединительная линия 66">
                <a:extLst>
                  <a:ext uri="{FF2B5EF4-FFF2-40B4-BE49-F238E27FC236}">
                    <a16:creationId xmlns:a16="http://schemas.microsoft.com/office/drawing/2014/main" xmlns="" id="{9D0F472B-41EC-441D-BD99-1C22F13886D4}"/>
                  </a:ext>
                </a:extLst>
              </p:cNvPr>
              <p:cNvCxnSpPr/>
              <p:nvPr/>
            </p:nvCxnSpPr>
            <p:spPr>
              <a:xfrm>
                <a:off x="12466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1" name="Прямая соединительная линия 67">
                <a:extLst>
                  <a:ext uri="{FF2B5EF4-FFF2-40B4-BE49-F238E27FC236}">
                    <a16:creationId xmlns:a16="http://schemas.microsoft.com/office/drawing/2014/main" xmlns="" id="{04E1983E-3B66-4212-82B1-4E25F7D4C6F2}"/>
                  </a:ext>
                </a:extLst>
              </p:cNvPr>
              <p:cNvCxnSpPr/>
              <p:nvPr/>
            </p:nvCxnSpPr>
            <p:spPr>
              <a:xfrm>
                <a:off x="14444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2" name="Прямая соединительная линия 69">
                <a:extLst>
                  <a:ext uri="{FF2B5EF4-FFF2-40B4-BE49-F238E27FC236}">
                    <a16:creationId xmlns:a16="http://schemas.microsoft.com/office/drawing/2014/main" xmlns="" id="{EFDF84B4-E917-4900-BBB3-E702BE8C327A}"/>
                  </a:ext>
                </a:extLst>
              </p:cNvPr>
              <p:cNvCxnSpPr/>
              <p:nvPr/>
            </p:nvCxnSpPr>
            <p:spPr>
              <a:xfrm>
                <a:off x="16423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3" name="Прямая соединительная линия 70">
                <a:extLst>
                  <a:ext uri="{FF2B5EF4-FFF2-40B4-BE49-F238E27FC236}">
                    <a16:creationId xmlns:a16="http://schemas.microsoft.com/office/drawing/2014/main" xmlns="" id="{869CFA8D-C754-4A9B-8C74-2AE18EC20470}"/>
                  </a:ext>
                </a:extLst>
              </p:cNvPr>
              <p:cNvCxnSpPr/>
              <p:nvPr/>
            </p:nvCxnSpPr>
            <p:spPr>
              <a:xfrm>
                <a:off x="18401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4" name="Прямая соединительная линия 71">
                <a:extLst>
                  <a:ext uri="{FF2B5EF4-FFF2-40B4-BE49-F238E27FC236}">
                    <a16:creationId xmlns:a16="http://schemas.microsoft.com/office/drawing/2014/main" xmlns="" id="{1E687AF1-5905-4551-8F0F-3BAE9F58B2CE}"/>
                  </a:ext>
                </a:extLst>
              </p:cNvPr>
              <p:cNvCxnSpPr/>
              <p:nvPr/>
            </p:nvCxnSpPr>
            <p:spPr>
              <a:xfrm>
                <a:off x="20380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5" name="Прямая соединительная линия 72">
                <a:extLst>
                  <a:ext uri="{FF2B5EF4-FFF2-40B4-BE49-F238E27FC236}">
                    <a16:creationId xmlns:a16="http://schemas.microsoft.com/office/drawing/2014/main" xmlns="" id="{A77DDA00-3E97-4085-AA05-DE253686E0A7}"/>
                  </a:ext>
                </a:extLst>
              </p:cNvPr>
              <p:cNvCxnSpPr/>
              <p:nvPr/>
            </p:nvCxnSpPr>
            <p:spPr>
              <a:xfrm>
                <a:off x="22358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6" name="Прямая соединительная линия 73">
                <a:extLst>
                  <a:ext uri="{FF2B5EF4-FFF2-40B4-BE49-F238E27FC236}">
                    <a16:creationId xmlns:a16="http://schemas.microsoft.com/office/drawing/2014/main" xmlns="" id="{901C764D-D34B-4AC0-A260-676FDA4E2B96}"/>
                  </a:ext>
                </a:extLst>
              </p:cNvPr>
              <p:cNvCxnSpPr/>
              <p:nvPr/>
            </p:nvCxnSpPr>
            <p:spPr>
              <a:xfrm>
                <a:off x="24337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7" name="Прямая соединительная линия 74">
                <a:extLst>
                  <a:ext uri="{FF2B5EF4-FFF2-40B4-BE49-F238E27FC236}">
                    <a16:creationId xmlns:a16="http://schemas.microsoft.com/office/drawing/2014/main" xmlns="" id="{10791E5C-D2FA-414D-97F1-63ACF7FBA0F1}"/>
                  </a:ext>
                </a:extLst>
              </p:cNvPr>
              <p:cNvCxnSpPr/>
              <p:nvPr/>
            </p:nvCxnSpPr>
            <p:spPr>
              <a:xfrm>
                <a:off x="26316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8" name="Прямая соединительная линия 75">
                <a:extLst>
                  <a:ext uri="{FF2B5EF4-FFF2-40B4-BE49-F238E27FC236}">
                    <a16:creationId xmlns:a16="http://schemas.microsoft.com/office/drawing/2014/main" xmlns="" id="{4989A624-967E-48E5-AD8A-BA7A1148B237}"/>
                  </a:ext>
                </a:extLst>
              </p:cNvPr>
              <p:cNvCxnSpPr/>
              <p:nvPr/>
            </p:nvCxnSpPr>
            <p:spPr>
              <a:xfrm>
                <a:off x="28294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9" name="Прямая соединительная линия 76">
                <a:extLst>
                  <a:ext uri="{FF2B5EF4-FFF2-40B4-BE49-F238E27FC236}">
                    <a16:creationId xmlns:a16="http://schemas.microsoft.com/office/drawing/2014/main" xmlns="" id="{41A6DCFC-1763-4C63-9916-6820D2136407}"/>
                  </a:ext>
                </a:extLst>
              </p:cNvPr>
              <p:cNvCxnSpPr/>
              <p:nvPr/>
            </p:nvCxnSpPr>
            <p:spPr>
              <a:xfrm>
                <a:off x="30273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0" name="Прямая соединительная линия 77">
                <a:extLst>
                  <a:ext uri="{FF2B5EF4-FFF2-40B4-BE49-F238E27FC236}">
                    <a16:creationId xmlns:a16="http://schemas.microsoft.com/office/drawing/2014/main" xmlns="" id="{31BDB1B9-90C0-4EC3-BBC6-5DF04DE05901}"/>
                  </a:ext>
                </a:extLst>
              </p:cNvPr>
              <p:cNvCxnSpPr/>
              <p:nvPr/>
            </p:nvCxnSpPr>
            <p:spPr>
              <a:xfrm>
                <a:off x="32251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1" name="Прямая соединительная линия 78">
                <a:extLst>
                  <a:ext uri="{FF2B5EF4-FFF2-40B4-BE49-F238E27FC236}">
                    <a16:creationId xmlns:a16="http://schemas.microsoft.com/office/drawing/2014/main" xmlns="" id="{611AE30D-6FC0-4BD8-8603-3C70E0EB4FD9}"/>
                  </a:ext>
                </a:extLst>
              </p:cNvPr>
              <p:cNvCxnSpPr/>
              <p:nvPr/>
            </p:nvCxnSpPr>
            <p:spPr>
              <a:xfrm>
                <a:off x="34230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2" name="Прямая соединительная линия 79">
                <a:extLst>
                  <a:ext uri="{FF2B5EF4-FFF2-40B4-BE49-F238E27FC236}">
                    <a16:creationId xmlns:a16="http://schemas.microsoft.com/office/drawing/2014/main" xmlns="" id="{F26AFA0C-9A90-484B-B172-B61CF68560BF}"/>
                  </a:ext>
                </a:extLst>
              </p:cNvPr>
              <p:cNvCxnSpPr/>
              <p:nvPr/>
            </p:nvCxnSpPr>
            <p:spPr>
              <a:xfrm>
                <a:off x="36208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3" name="Прямая соединительная линия 80">
                <a:extLst>
                  <a:ext uri="{FF2B5EF4-FFF2-40B4-BE49-F238E27FC236}">
                    <a16:creationId xmlns:a16="http://schemas.microsoft.com/office/drawing/2014/main" xmlns="" id="{31834DD3-3E6F-4153-BC12-900BF7AA86A5}"/>
                  </a:ext>
                </a:extLst>
              </p:cNvPr>
              <p:cNvCxnSpPr/>
              <p:nvPr/>
            </p:nvCxnSpPr>
            <p:spPr>
              <a:xfrm>
                <a:off x="38187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4" name="Прямая соединительная линия 81">
                <a:extLst>
                  <a:ext uri="{FF2B5EF4-FFF2-40B4-BE49-F238E27FC236}">
                    <a16:creationId xmlns:a16="http://schemas.microsoft.com/office/drawing/2014/main" xmlns="" id="{BE807F4C-8179-41C6-892F-4F3D7CDDE444}"/>
                  </a:ext>
                </a:extLst>
              </p:cNvPr>
              <p:cNvCxnSpPr/>
              <p:nvPr/>
            </p:nvCxnSpPr>
            <p:spPr>
              <a:xfrm>
                <a:off x="40165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5" name="Прямая соединительная линия 82">
                <a:extLst>
                  <a:ext uri="{FF2B5EF4-FFF2-40B4-BE49-F238E27FC236}">
                    <a16:creationId xmlns:a16="http://schemas.microsoft.com/office/drawing/2014/main" xmlns="" id="{7D25AFF6-6EB4-43D3-A168-D4F527F41CDB}"/>
                  </a:ext>
                </a:extLst>
              </p:cNvPr>
              <p:cNvCxnSpPr/>
              <p:nvPr/>
            </p:nvCxnSpPr>
            <p:spPr>
              <a:xfrm>
                <a:off x="42144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6" name="Прямая соединительная линия 83">
                <a:extLst>
                  <a:ext uri="{FF2B5EF4-FFF2-40B4-BE49-F238E27FC236}">
                    <a16:creationId xmlns:a16="http://schemas.microsoft.com/office/drawing/2014/main" xmlns="" id="{B4EFF9DB-6743-4958-B8AA-480F0B05D5A0}"/>
                  </a:ext>
                </a:extLst>
              </p:cNvPr>
              <p:cNvCxnSpPr/>
              <p:nvPr/>
            </p:nvCxnSpPr>
            <p:spPr>
              <a:xfrm>
                <a:off x="44123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7" name="Прямая соединительная линия 84">
                <a:extLst>
                  <a:ext uri="{FF2B5EF4-FFF2-40B4-BE49-F238E27FC236}">
                    <a16:creationId xmlns:a16="http://schemas.microsoft.com/office/drawing/2014/main" xmlns="" id="{6792DA41-6B5D-4C08-A05E-33F0775518F2}"/>
                  </a:ext>
                </a:extLst>
              </p:cNvPr>
              <p:cNvCxnSpPr/>
              <p:nvPr/>
            </p:nvCxnSpPr>
            <p:spPr>
              <a:xfrm>
                <a:off x="46101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8" name="Прямая соединительная линия 85">
                <a:extLst>
                  <a:ext uri="{FF2B5EF4-FFF2-40B4-BE49-F238E27FC236}">
                    <a16:creationId xmlns:a16="http://schemas.microsoft.com/office/drawing/2014/main" xmlns="" id="{6C02681F-9516-47DE-B509-2E3E5F69A5BB}"/>
                  </a:ext>
                </a:extLst>
              </p:cNvPr>
              <p:cNvCxnSpPr/>
              <p:nvPr/>
            </p:nvCxnSpPr>
            <p:spPr>
              <a:xfrm>
                <a:off x="48080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9" name="Прямая соединительная линия 86">
                <a:extLst>
                  <a:ext uri="{FF2B5EF4-FFF2-40B4-BE49-F238E27FC236}">
                    <a16:creationId xmlns:a16="http://schemas.microsoft.com/office/drawing/2014/main" xmlns="" id="{B00F2FB1-E0B9-4BD6-B1E6-D2CD32329B34}"/>
                  </a:ext>
                </a:extLst>
              </p:cNvPr>
              <p:cNvCxnSpPr/>
              <p:nvPr/>
            </p:nvCxnSpPr>
            <p:spPr>
              <a:xfrm>
                <a:off x="50058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0" name="Прямая соединительная линия 87">
                <a:extLst>
                  <a:ext uri="{FF2B5EF4-FFF2-40B4-BE49-F238E27FC236}">
                    <a16:creationId xmlns:a16="http://schemas.microsoft.com/office/drawing/2014/main" xmlns="" id="{F3F072BE-51A6-4101-B7D6-81C5972A486B}"/>
                  </a:ext>
                </a:extLst>
              </p:cNvPr>
              <p:cNvCxnSpPr/>
              <p:nvPr/>
            </p:nvCxnSpPr>
            <p:spPr>
              <a:xfrm>
                <a:off x="52037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1" name="Прямая соединительная линия 88">
                <a:extLst>
                  <a:ext uri="{FF2B5EF4-FFF2-40B4-BE49-F238E27FC236}">
                    <a16:creationId xmlns:a16="http://schemas.microsoft.com/office/drawing/2014/main" xmlns="" id="{596B496C-0591-4643-82C9-3CA2B772E49B}"/>
                  </a:ext>
                </a:extLst>
              </p:cNvPr>
              <p:cNvCxnSpPr/>
              <p:nvPr/>
            </p:nvCxnSpPr>
            <p:spPr>
              <a:xfrm>
                <a:off x="54015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2" name="Прямая соединительная линия 89">
                <a:extLst>
                  <a:ext uri="{FF2B5EF4-FFF2-40B4-BE49-F238E27FC236}">
                    <a16:creationId xmlns:a16="http://schemas.microsoft.com/office/drawing/2014/main" xmlns="" id="{F14BF2AA-826A-482C-A582-168E4952C7D4}"/>
                  </a:ext>
                </a:extLst>
              </p:cNvPr>
              <p:cNvCxnSpPr/>
              <p:nvPr/>
            </p:nvCxnSpPr>
            <p:spPr>
              <a:xfrm>
                <a:off x="55994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3" name="Прямая соединительная линия 90">
                <a:extLst>
                  <a:ext uri="{FF2B5EF4-FFF2-40B4-BE49-F238E27FC236}">
                    <a16:creationId xmlns:a16="http://schemas.microsoft.com/office/drawing/2014/main" xmlns="" id="{F8EFAB39-6463-47AD-B841-CF9C3D14D04B}"/>
                  </a:ext>
                </a:extLst>
              </p:cNvPr>
              <p:cNvCxnSpPr/>
              <p:nvPr/>
            </p:nvCxnSpPr>
            <p:spPr>
              <a:xfrm>
                <a:off x="57972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4" name="Прямая соединительная линия 91">
                <a:extLst>
                  <a:ext uri="{FF2B5EF4-FFF2-40B4-BE49-F238E27FC236}">
                    <a16:creationId xmlns:a16="http://schemas.microsoft.com/office/drawing/2014/main" xmlns="" id="{B25D95FD-7CB7-4102-8D11-FBBFAE11509C}"/>
                  </a:ext>
                </a:extLst>
              </p:cNvPr>
              <p:cNvCxnSpPr/>
              <p:nvPr/>
            </p:nvCxnSpPr>
            <p:spPr>
              <a:xfrm>
                <a:off x="59951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5" name="Прямая соединительная линия 92">
                <a:extLst>
                  <a:ext uri="{FF2B5EF4-FFF2-40B4-BE49-F238E27FC236}">
                    <a16:creationId xmlns:a16="http://schemas.microsoft.com/office/drawing/2014/main" xmlns="" id="{2E260D45-E2EF-4F22-8A57-A33F333751D5}"/>
                  </a:ext>
                </a:extLst>
              </p:cNvPr>
              <p:cNvCxnSpPr/>
              <p:nvPr/>
            </p:nvCxnSpPr>
            <p:spPr>
              <a:xfrm>
                <a:off x="61930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6" name="Прямая соединительная линия 93">
                <a:extLst>
                  <a:ext uri="{FF2B5EF4-FFF2-40B4-BE49-F238E27FC236}">
                    <a16:creationId xmlns:a16="http://schemas.microsoft.com/office/drawing/2014/main" xmlns="" id="{5A19A3CB-2FD6-480D-9BCC-B60F732A175F}"/>
                  </a:ext>
                </a:extLst>
              </p:cNvPr>
              <p:cNvCxnSpPr/>
              <p:nvPr/>
            </p:nvCxnSpPr>
            <p:spPr>
              <a:xfrm>
                <a:off x="63908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7" name="Прямая соединительная линия 94">
                <a:extLst>
                  <a:ext uri="{FF2B5EF4-FFF2-40B4-BE49-F238E27FC236}">
                    <a16:creationId xmlns:a16="http://schemas.microsoft.com/office/drawing/2014/main" xmlns="" id="{8E8C5ECC-745E-4F65-8356-61AB08D275BE}"/>
                  </a:ext>
                </a:extLst>
              </p:cNvPr>
              <p:cNvCxnSpPr/>
              <p:nvPr/>
            </p:nvCxnSpPr>
            <p:spPr>
              <a:xfrm>
                <a:off x="65887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8" name="Прямая соединительная линия 95">
                <a:extLst>
                  <a:ext uri="{FF2B5EF4-FFF2-40B4-BE49-F238E27FC236}">
                    <a16:creationId xmlns:a16="http://schemas.microsoft.com/office/drawing/2014/main" xmlns="" id="{87BD6B49-522A-41A2-B96D-B8DAB7435C9C}"/>
                  </a:ext>
                </a:extLst>
              </p:cNvPr>
              <p:cNvCxnSpPr/>
              <p:nvPr/>
            </p:nvCxnSpPr>
            <p:spPr>
              <a:xfrm>
                <a:off x="67865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9" name="Прямая соединительная линия 96">
                <a:extLst>
                  <a:ext uri="{FF2B5EF4-FFF2-40B4-BE49-F238E27FC236}">
                    <a16:creationId xmlns:a16="http://schemas.microsoft.com/office/drawing/2014/main" xmlns="" id="{C3D1E7AF-1840-41EC-B94B-8049B4FB8A92}"/>
                  </a:ext>
                </a:extLst>
              </p:cNvPr>
              <p:cNvCxnSpPr/>
              <p:nvPr/>
            </p:nvCxnSpPr>
            <p:spPr>
              <a:xfrm>
                <a:off x="69844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0" name="Прямая соединительная линия 97">
                <a:extLst>
                  <a:ext uri="{FF2B5EF4-FFF2-40B4-BE49-F238E27FC236}">
                    <a16:creationId xmlns:a16="http://schemas.microsoft.com/office/drawing/2014/main" xmlns="" id="{9869B6C9-9B2A-4C27-BE07-C2BB1FB207C3}"/>
                  </a:ext>
                </a:extLst>
              </p:cNvPr>
              <p:cNvCxnSpPr/>
              <p:nvPr/>
            </p:nvCxnSpPr>
            <p:spPr>
              <a:xfrm>
                <a:off x="71822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1" name="Прямая соединительная линия 98">
                <a:extLst>
                  <a:ext uri="{FF2B5EF4-FFF2-40B4-BE49-F238E27FC236}">
                    <a16:creationId xmlns:a16="http://schemas.microsoft.com/office/drawing/2014/main" xmlns="" id="{A67DBF60-7C48-4D7E-B37E-2C1D14C6C70A}"/>
                  </a:ext>
                </a:extLst>
              </p:cNvPr>
              <p:cNvCxnSpPr/>
              <p:nvPr/>
            </p:nvCxnSpPr>
            <p:spPr>
              <a:xfrm>
                <a:off x="73801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2" name="Прямая соединительная линия 99">
                <a:extLst>
                  <a:ext uri="{FF2B5EF4-FFF2-40B4-BE49-F238E27FC236}">
                    <a16:creationId xmlns:a16="http://schemas.microsoft.com/office/drawing/2014/main" xmlns="" id="{22989FA6-86F3-4F5C-9F7F-D4E75D495E69}"/>
                  </a:ext>
                </a:extLst>
              </p:cNvPr>
              <p:cNvCxnSpPr/>
              <p:nvPr/>
            </p:nvCxnSpPr>
            <p:spPr>
              <a:xfrm>
                <a:off x="75780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3" name="Прямая соединительная линия 100">
                <a:extLst>
                  <a:ext uri="{FF2B5EF4-FFF2-40B4-BE49-F238E27FC236}">
                    <a16:creationId xmlns:a16="http://schemas.microsoft.com/office/drawing/2014/main" xmlns="" id="{95DE3566-DB16-487C-9B7F-00521D2653D2}"/>
                  </a:ext>
                </a:extLst>
              </p:cNvPr>
              <p:cNvCxnSpPr/>
              <p:nvPr/>
            </p:nvCxnSpPr>
            <p:spPr>
              <a:xfrm>
                <a:off x="77758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4" name="Прямая соединительная линия 101">
                <a:extLst>
                  <a:ext uri="{FF2B5EF4-FFF2-40B4-BE49-F238E27FC236}">
                    <a16:creationId xmlns:a16="http://schemas.microsoft.com/office/drawing/2014/main" xmlns="" id="{EB62F5C0-4DAE-4EEF-A751-6D90F6D3A931}"/>
                  </a:ext>
                </a:extLst>
              </p:cNvPr>
              <p:cNvCxnSpPr/>
              <p:nvPr/>
            </p:nvCxnSpPr>
            <p:spPr>
              <a:xfrm>
                <a:off x="79737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5" name="Прямая соединительная линия 102">
                <a:extLst>
                  <a:ext uri="{FF2B5EF4-FFF2-40B4-BE49-F238E27FC236}">
                    <a16:creationId xmlns:a16="http://schemas.microsoft.com/office/drawing/2014/main" xmlns="" id="{EDA5047A-78B2-4063-B2A6-B3670B8B15D8}"/>
                  </a:ext>
                </a:extLst>
              </p:cNvPr>
              <p:cNvCxnSpPr/>
              <p:nvPr/>
            </p:nvCxnSpPr>
            <p:spPr>
              <a:xfrm>
                <a:off x="81715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6" name="Прямая соединительная линия 103">
                <a:extLst>
                  <a:ext uri="{FF2B5EF4-FFF2-40B4-BE49-F238E27FC236}">
                    <a16:creationId xmlns:a16="http://schemas.microsoft.com/office/drawing/2014/main" xmlns="" id="{B5AAF27E-A05C-44FD-A980-B32DD4560CE1}"/>
                  </a:ext>
                </a:extLst>
              </p:cNvPr>
              <p:cNvCxnSpPr/>
              <p:nvPr/>
            </p:nvCxnSpPr>
            <p:spPr>
              <a:xfrm>
                <a:off x="83694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7" name="Прямая соединительная линия 104">
                <a:extLst>
                  <a:ext uri="{FF2B5EF4-FFF2-40B4-BE49-F238E27FC236}">
                    <a16:creationId xmlns:a16="http://schemas.microsoft.com/office/drawing/2014/main" xmlns="" id="{5597409D-7FBB-4BB6-98BE-CFC4416A80E0}"/>
                  </a:ext>
                </a:extLst>
              </p:cNvPr>
              <p:cNvCxnSpPr/>
              <p:nvPr/>
            </p:nvCxnSpPr>
            <p:spPr>
              <a:xfrm>
                <a:off x="85672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8" name="Прямая соединительная линия 105">
                <a:extLst>
                  <a:ext uri="{FF2B5EF4-FFF2-40B4-BE49-F238E27FC236}">
                    <a16:creationId xmlns:a16="http://schemas.microsoft.com/office/drawing/2014/main" xmlns="" id="{0D373A29-561A-4597-9C9D-8836B84346AF}"/>
                  </a:ext>
                </a:extLst>
              </p:cNvPr>
              <p:cNvCxnSpPr/>
              <p:nvPr/>
            </p:nvCxnSpPr>
            <p:spPr>
              <a:xfrm>
                <a:off x="87651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9" name="Прямая соединительная линия 106">
                <a:extLst>
                  <a:ext uri="{FF2B5EF4-FFF2-40B4-BE49-F238E27FC236}">
                    <a16:creationId xmlns:a16="http://schemas.microsoft.com/office/drawing/2014/main" xmlns="" id="{1DBF4FA6-8F8A-43BE-9E44-112017E85201}"/>
                  </a:ext>
                </a:extLst>
              </p:cNvPr>
              <p:cNvCxnSpPr/>
              <p:nvPr/>
            </p:nvCxnSpPr>
            <p:spPr>
              <a:xfrm>
                <a:off x="89629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0" name="Прямая соединительная линия 107">
                <a:extLst>
                  <a:ext uri="{FF2B5EF4-FFF2-40B4-BE49-F238E27FC236}">
                    <a16:creationId xmlns:a16="http://schemas.microsoft.com/office/drawing/2014/main" xmlns="" id="{0499750B-A858-445F-A37D-5B994D1184CF}"/>
                  </a:ext>
                </a:extLst>
              </p:cNvPr>
              <p:cNvCxnSpPr/>
              <p:nvPr/>
            </p:nvCxnSpPr>
            <p:spPr>
              <a:xfrm>
                <a:off x="91608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1" name="Прямая соединительная линия 108">
                <a:extLst>
                  <a:ext uri="{FF2B5EF4-FFF2-40B4-BE49-F238E27FC236}">
                    <a16:creationId xmlns:a16="http://schemas.microsoft.com/office/drawing/2014/main" xmlns="" id="{8AF92EF5-CB16-4860-B34B-FDC369DC082C}"/>
                  </a:ext>
                </a:extLst>
              </p:cNvPr>
              <p:cNvCxnSpPr/>
              <p:nvPr/>
            </p:nvCxnSpPr>
            <p:spPr>
              <a:xfrm>
                <a:off x="93587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2" name="Прямая соединительная линия 109">
                <a:extLst>
                  <a:ext uri="{FF2B5EF4-FFF2-40B4-BE49-F238E27FC236}">
                    <a16:creationId xmlns:a16="http://schemas.microsoft.com/office/drawing/2014/main" xmlns="" id="{8954FD9C-1679-4A45-AB58-2FA9869FBF55}"/>
                  </a:ext>
                </a:extLst>
              </p:cNvPr>
              <p:cNvCxnSpPr/>
              <p:nvPr/>
            </p:nvCxnSpPr>
            <p:spPr>
              <a:xfrm>
                <a:off x="95565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3" name="Прямая соединительная линия 110">
                <a:extLst>
                  <a:ext uri="{FF2B5EF4-FFF2-40B4-BE49-F238E27FC236}">
                    <a16:creationId xmlns:a16="http://schemas.microsoft.com/office/drawing/2014/main" xmlns="" id="{C7FA8951-9CA4-42DD-BDFB-C2564D9F0578}"/>
                  </a:ext>
                </a:extLst>
              </p:cNvPr>
              <p:cNvCxnSpPr/>
              <p:nvPr/>
            </p:nvCxnSpPr>
            <p:spPr>
              <a:xfrm>
                <a:off x="97544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4" name="Прямая соединительная линия 111">
                <a:extLst>
                  <a:ext uri="{FF2B5EF4-FFF2-40B4-BE49-F238E27FC236}">
                    <a16:creationId xmlns:a16="http://schemas.microsoft.com/office/drawing/2014/main" xmlns="" id="{29674CCC-BBB6-44AF-9DB8-4C2ACFD8986F}"/>
                  </a:ext>
                </a:extLst>
              </p:cNvPr>
              <p:cNvCxnSpPr/>
              <p:nvPr/>
            </p:nvCxnSpPr>
            <p:spPr>
              <a:xfrm>
                <a:off x="99522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5" name="Прямая соединительная линия 112">
                <a:extLst>
                  <a:ext uri="{FF2B5EF4-FFF2-40B4-BE49-F238E27FC236}">
                    <a16:creationId xmlns:a16="http://schemas.microsoft.com/office/drawing/2014/main" xmlns="" id="{93E22FD9-3D1B-46BF-A4C2-E234A64BC1E6}"/>
                  </a:ext>
                </a:extLst>
              </p:cNvPr>
              <p:cNvCxnSpPr/>
              <p:nvPr/>
            </p:nvCxnSpPr>
            <p:spPr>
              <a:xfrm>
                <a:off x="101501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6" name="Прямая соединительная линия 113">
                <a:extLst>
                  <a:ext uri="{FF2B5EF4-FFF2-40B4-BE49-F238E27FC236}">
                    <a16:creationId xmlns:a16="http://schemas.microsoft.com/office/drawing/2014/main" xmlns="" id="{4054558F-7A3A-47C8-96AF-378FA724A231}"/>
                  </a:ext>
                </a:extLst>
              </p:cNvPr>
              <p:cNvCxnSpPr/>
              <p:nvPr/>
            </p:nvCxnSpPr>
            <p:spPr>
              <a:xfrm>
                <a:off x="103479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7" name="Прямая соединительная линия 114">
                <a:extLst>
                  <a:ext uri="{FF2B5EF4-FFF2-40B4-BE49-F238E27FC236}">
                    <a16:creationId xmlns:a16="http://schemas.microsoft.com/office/drawing/2014/main" xmlns="" id="{EA32763E-6EE0-4D84-8CC4-2A27546CF496}"/>
                  </a:ext>
                </a:extLst>
              </p:cNvPr>
              <p:cNvCxnSpPr/>
              <p:nvPr/>
            </p:nvCxnSpPr>
            <p:spPr>
              <a:xfrm>
                <a:off x="105458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8" name="Прямая соединительная линия 115">
                <a:extLst>
                  <a:ext uri="{FF2B5EF4-FFF2-40B4-BE49-F238E27FC236}">
                    <a16:creationId xmlns:a16="http://schemas.microsoft.com/office/drawing/2014/main" xmlns="" id="{6BDF21E7-0D3D-42D1-9A8D-71DDFAF17607}"/>
                  </a:ext>
                </a:extLst>
              </p:cNvPr>
              <p:cNvCxnSpPr/>
              <p:nvPr/>
            </p:nvCxnSpPr>
            <p:spPr>
              <a:xfrm>
                <a:off x="107436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9" name="Прямая соединительная линия 116">
                <a:extLst>
                  <a:ext uri="{FF2B5EF4-FFF2-40B4-BE49-F238E27FC236}">
                    <a16:creationId xmlns:a16="http://schemas.microsoft.com/office/drawing/2014/main" xmlns="" id="{DEA12562-E4DD-4D60-8862-06A22C08749B}"/>
                  </a:ext>
                </a:extLst>
              </p:cNvPr>
              <p:cNvCxnSpPr/>
              <p:nvPr/>
            </p:nvCxnSpPr>
            <p:spPr>
              <a:xfrm>
                <a:off x="109415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0" name="Прямая соединительная линия 117">
                <a:extLst>
                  <a:ext uri="{FF2B5EF4-FFF2-40B4-BE49-F238E27FC236}">
                    <a16:creationId xmlns:a16="http://schemas.microsoft.com/office/drawing/2014/main" xmlns="" id="{C4AC3D6D-BBCD-4FAC-A189-9E3641C1A26D}"/>
                  </a:ext>
                </a:extLst>
              </p:cNvPr>
              <p:cNvCxnSpPr/>
              <p:nvPr/>
            </p:nvCxnSpPr>
            <p:spPr>
              <a:xfrm>
                <a:off x="111394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1" name="Прямая соединительная линия 118">
                <a:extLst>
                  <a:ext uri="{FF2B5EF4-FFF2-40B4-BE49-F238E27FC236}">
                    <a16:creationId xmlns:a16="http://schemas.microsoft.com/office/drawing/2014/main" xmlns="" id="{64FB51C2-CA4C-43D5-9726-D0DF36062589}"/>
                  </a:ext>
                </a:extLst>
              </p:cNvPr>
              <p:cNvCxnSpPr/>
              <p:nvPr/>
            </p:nvCxnSpPr>
            <p:spPr>
              <a:xfrm>
                <a:off x="113372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2" name="Прямая соединительная линия 119">
                <a:extLst>
                  <a:ext uri="{FF2B5EF4-FFF2-40B4-BE49-F238E27FC236}">
                    <a16:creationId xmlns:a16="http://schemas.microsoft.com/office/drawing/2014/main" xmlns="" id="{44D34490-F5D4-4538-8E80-19DF9577E210}"/>
                  </a:ext>
                </a:extLst>
              </p:cNvPr>
              <p:cNvCxnSpPr/>
              <p:nvPr/>
            </p:nvCxnSpPr>
            <p:spPr>
              <a:xfrm>
                <a:off x="115351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3" name="Прямая соединительная линия 120">
                <a:extLst>
                  <a:ext uri="{FF2B5EF4-FFF2-40B4-BE49-F238E27FC236}">
                    <a16:creationId xmlns:a16="http://schemas.microsoft.com/office/drawing/2014/main" xmlns="" id="{AB0DC1C3-48A3-48C1-94D5-FC0BE703C216}"/>
                  </a:ext>
                </a:extLst>
              </p:cNvPr>
              <p:cNvCxnSpPr/>
              <p:nvPr/>
            </p:nvCxnSpPr>
            <p:spPr>
              <a:xfrm>
                <a:off x="117329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4" name="Прямая соединительная линия 121">
                <a:extLst>
                  <a:ext uri="{FF2B5EF4-FFF2-40B4-BE49-F238E27FC236}">
                    <a16:creationId xmlns:a16="http://schemas.microsoft.com/office/drawing/2014/main" xmlns="" id="{7AF702B8-9CFB-4C80-9C8B-495C6D4E7037}"/>
                  </a:ext>
                </a:extLst>
              </p:cNvPr>
              <p:cNvCxnSpPr/>
              <p:nvPr/>
            </p:nvCxnSpPr>
            <p:spPr>
              <a:xfrm>
                <a:off x="119308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5" name="Прямая соединительная линия 122">
                <a:extLst>
                  <a:ext uri="{FF2B5EF4-FFF2-40B4-BE49-F238E27FC236}">
                    <a16:creationId xmlns:a16="http://schemas.microsoft.com/office/drawing/2014/main" xmlns="" id="{CEA38D1D-2EAF-44AB-A10D-923628DDA05D}"/>
                  </a:ext>
                </a:extLst>
              </p:cNvPr>
              <p:cNvCxnSpPr/>
              <p:nvPr/>
            </p:nvCxnSpPr>
            <p:spPr>
              <a:xfrm>
                <a:off x="121286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6" name="Прямая соединительная линия 123">
                <a:extLst>
                  <a:ext uri="{FF2B5EF4-FFF2-40B4-BE49-F238E27FC236}">
                    <a16:creationId xmlns:a16="http://schemas.microsoft.com/office/drawing/2014/main" xmlns="" id="{F90AC235-2FB3-43B8-B364-01A4D020736A}"/>
                  </a:ext>
                </a:extLst>
              </p:cNvPr>
              <p:cNvCxnSpPr/>
              <p:nvPr/>
            </p:nvCxnSpPr>
            <p:spPr>
              <a:xfrm>
                <a:off x="123265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7" name="Прямая соединительная линия 124">
                <a:extLst>
                  <a:ext uri="{FF2B5EF4-FFF2-40B4-BE49-F238E27FC236}">
                    <a16:creationId xmlns:a16="http://schemas.microsoft.com/office/drawing/2014/main" xmlns="" id="{02A1E03D-E67E-4DCF-852C-970040E8F559}"/>
                  </a:ext>
                </a:extLst>
              </p:cNvPr>
              <p:cNvCxnSpPr/>
              <p:nvPr/>
            </p:nvCxnSpPr>
            <p:spPr>
              <a:xfrm>
                <a:off x="125244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8" name="Прямая соединительная линия 125">
                <a:extLst>
                  <a:ext uri="{FF2B5EF4-FFF2-40B4-BE49-F238E27FC236}">
                    <a16:creationId xmlns:a16="http://schemas.microsoft.com/office/drawing/2014/main" xmlns="" id="{E97DB8AC-01B3-40DF-9606-2EDFD3FB32D2}"/>
                  </a:ext>
                </a:extLst>
              </p:cNvPr>
              <p:cNvCxnSpPr/>
              <p:nvPr/>
            </p:nvCxnSpPr>
            <p:spPr>
              <a:xfrm>
                <a:off x="127222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9" name="Прямая соединительная линия 126">
                <a:extLst>
                  <a:ext uri="{FF2B5EF4-FFF2-40B4-BE49-F238E27FC236}">
                    <a16:creationId xmlns:a16="http://schemas.microsoft.com/office/drawing/2014/main" xmlns="" id="{829893E3-87BD-4470-816F-2621AB4F3529}"/>
                  </a:ext>
                </a:extLst>
              </p:cNvPr>
              <p:cNvCxnSpPr/>
              <p:nvPr/>
            </p:nvCxnSpPr>
            <p:spPr>
              <a:xfrm>
                <a:off x="129201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0" name="Прямая соединительная линия 127">
                <a:extLst>
                  <a:ext uri="{FF2B5EF4-FFF2-40B4-BE49-F238E27FC236}">
                    <a16:creationId xmlns:a16="http://schemas.microsoft.com/office/drawing/2014/main" xmlns="" id="{48AC85DE-2EDE-4C30-8265-2454202E402E}"/>
                  </a:ext>
                </a:extLst>
              </p:cNvPr>
              <p:cNvCxnSpPr/>
              <p:nvPr/>
            </p:nvCxnSpPr>
            <p:spPr>
              <a:xfrm>
                <a:off x="131179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1" name="Прямая соединительная линия 128">
                <a:extLst>
                  <a:ext uri="{FF2B5EF4-FFF2-40B4-BE49-F238E27FC236}">
                    <a16:creationId xmlns:a16="http://schemas.microsoft.com/office/drawing/2014/main" xmlns="" id="{54167FE7-80D4-46D1-B420-B4600F85E469}"/>
                  </a:ext>
                </a:extLst>
              </p:cNvPr>
              <p:cNvCxnSpPr/>
              <p:nvPr/>
            </p:nvCxnSpPr>
            <p:spPr>
              <a:xfrm>
                <a:off x="133158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2" name="Прямая соединительная линия 129">
                <a:extLst>
                  <a:ext uri="{FF2B5EF4-FFF2-40B4-BE49-F238E27FC236}">
                    <a16:creationId xmlns:a16="http://schemas.microsoft.com/office/drawing/2014/main" xmlns="" id="{9942835F-C35B-4E63-94AC-0CB5881A62F3}"/>
                  </a:ext>
                </a:extLst>
              </p:cNvPr>
              <p:cNvCxnSpPr/>
              <p:nvPr/>
            </p:nvCxnSpPr>
            <p:spPr>
              <a:xfrm>
                <a:off x="135136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3" name="Прямая соединительная линия 130">
                <a:extLst>
                  <a:ext uri="{FF2B5EF4-FFF2-40B4-BE49-F238E27FC236}">
                    <a16:creationId xmlns:a16="http://schemas.microsoft.com/office/drawing/2014/main" xmlns="" id="{AD544465-12C1-431F-B0E2-B6D91048CD76}"/>
                  </a:ext>
                </a:extLst>
              </p:cNvPr>
              <p:cNvCxnSpPr/>
              <p:nvPr/>
            </p:nvCxnSpPr>
            <p:spPr>
              <a:xfrm>
                <a:off x="137115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4" name="Прямая соединительная линия 131">
                <a:extLst>
                  <a:ext uri="{FF2B5EF4-FFF2-40B4-BE49-F238E27FC236}">
                    <a16:creationId xmlns:a16="http://schemas.microsoft.com/office/drawing/2014/main" xmlns="" id="{1C6B83F2-2546-411F-9980-35BFBD101971}"/>
                  </a:ext>
                </a:extLst>
              </p:cNvPr>
              <p:cNvCxnSpPr/>
              <p:nvPr/>
            </p:nvCxnSpPr>
            <p:spPr>
              <a:xfrm>
                <a:off x="139093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5" name="Прямая соединительная линия 132">
                <a:extLst>
                  <a:ext uri="{FF2B5EF4-FFF2-40B4-BE49-F238E27FC236}">
                    <a16:creationId xmlns:a16="http://schemas.microsoft.com/office/drawing/2014/main" xmlns="" id="{773C11E8-90AD-435B-ADB2-382C1EF68E11}"/>
                  </a:ext>
                </a:extLst>
              </p:cNvPr>
              <p:cNvCxnSpPr/>
              <p:nvPr/>
            </p:nvCxnSpPr>
            <p:spPr>
              <a:xfrm>
                <a:off x="141072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6" name="Прямая соединительная линия 133">
                <a:extLst>
                  <a:ext uri="{FF2B5EF4-FFF2-40B4-BE49-F238E27FC236}">
                    <a16:creationId xmlns:a16="http://schemas.microsoft.com/office/drawing/2014/main" xmlns="" id="{37887F9B-2C81-4B90-8C92-A76756B1FAEA}"/>
                  </a:ext>
                </a:extLst>
              </p:cNvPr>
              <p:cNvCxnSpPr/>
              <p:nvPr/>
            </p:nvCxnSpPr>
            <p:spPr>
              <a:xfrm>
                <a:off x="143051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7" name="Прямая соединительная линия 134">
                <a:extLst>
                  <a:ext uri="{FF2B5EF4-FFF2-40B4-BE49-F238E27FC236}">
                    <a16:creationId xmlns:a16="http://schemas.microsoft.com/office/drawing/2014/main" xmlns="" id="{01DE0692-8703-481F-850A-B6333040BBEC}"/>
                  </a:ext>
                </a:extLst>
              </p:cNvPr>
              <p:cNvCxnSpPr/>
              <p:nvPr/>
            </p:nvCxnSpPr>
            <p:spPr>
              <a:xfrm>
                <a:off x="145029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8" name="Прямая соединительная линия 135">
                <a:extLst>
                  <a:ext uri="{FF2B5EF4-FFF2-40B4-BE49-F238E27FC236}">
                    <a16:creationId xmlns:a16="http://schemas.microsoft.com/office/drawing/2014/main" xmlns="" id="{4A7897DA-82BB-40A4-9286-BFEE0C4E17AA}"/>
                  </a:ext>
                </a:extLst>
              </p:cNvPr>
              <p:cNvCxnSpPr/>
              <p:nvPr/>
            </p:nvCxnSpPr>
            <p:spPr>
              <a:xfrm>
                <a:off x="147008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9" name="Прямая соединительная линия 136">
                <a:extLst>
                  <a:ext uri="{FF2B5EF4-FFF2-40B4-BE49-F238E27FC236}">
                    <a16:creationId xmlns:a16="http://schemas.microsoft.com/office/drawing/2014/main" xmlns="" id="{EFACDA73-D1AC-4CB5-B642-9785E3B714DA}"/>
                  </a:ext>
                </a:extLst>
              </p:cNvPr>
              <p:cNvCxnSpPr/>
              <p:nvPr/>
            </p:nvCxnSpPr>
            <p:spPr>
              <a:xfrm>
                <a:off x="14898688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417" name="Прямая соединительная линия 416">
              <a:extLst>
                <a:ext uri="{FF2B5EF4-FFF2-40B4-BE49-F238E27FC236}">
                  <a16:creationId xmlns:a16="http://schemas.microsoft.com/office/drawing/2014/main" xmlns="" id="{DB17A00D-801A-47CE-ADA7-2EE0C1E4FD6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46040"/>
              <a:ext cx="12192000" cy="0"/>
            </a:xfrm>
            <a:prstGeom prst="line">
              <a:avLst/>
            </a:prstGeom>
            <a:noFill/>
            <a:ln w="44450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</p:cxnSp>
      </p:grpSp>
      <p:grpSp>
        <p:nvGrpSpPr>
          <p:cNvPr id="562" name="Группа 561">
            <a:extLst>
              <a:ext uri="{FF2B5EF4-FFF2-40B4-BE49-F238E27FC236}">
                <a16:creationId xmlns:a16="http://schemas.microsoft.com/office/drawing/2014/main" xmlns="" id="{5A1DC235-CC1E-4D78-86F5-09D2CD3DA1D0}"/>
              </a:ext>
            </a:extLst>
          </p:cNvPr>
          <p:cNvGrpSpPr/>
          <p:nvPr/>
        </p:nvGrpSpPr>
        <p:grpSpPr>
          <a:xfrm>
            <a:off x="1008012" y="3956876"/>
            <a:ext cx="1898127" cy="763265"/>
            <a:chOff x="1008012" y="3956876"/>
            <a:chExt cx="1898127" cy="763265"/>
          </a:xfrm>
        </p:grpSpPr>
        <p:sp>
          <p:nvSpPr>
            <p:cNvPr id="563" name="Текст 2">
              <a:extLst>
                <a:ext uri="{FF2B5EF4-FFF2-40B4-BE49-F238E27FC236}">
                  <a16:creationId xmlns:a16="http://schemas.microsoft.com/office/drawing/2014/main" xmlns="" id="{4A6CD9B8-A383-4217-BC57-8AFEAD84FE6A}"/>
                </a:ext>
              </a:extLst>
            </p:cNvPr>
            <p:cNvSpPr txBox="1">
              <a:spLocks/>
            </p:cNvSpPr>
            <p:nvPr/>
          </p:nvSpPr>
          <p:spPr>
            <a:xfrm>
              <a:off x="1008012" y="4473920"/>
              <a:ext cx="1898127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>
                  <a:solidFill>
                    <a:srgbClr val="EB8B2D"/>
                  </a:solidFill>
                  <a:latin typeface="Arial" panose="020B0604020202020204"/>
                </a:rPr>
                <a:t>7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-е 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64" name="Straight Connector 207">
              <a:extLst>
                <a:ext uri="{FF2B5EF4-FFF2-40B4-BE49-F238E27FC236}">
                  <a16:creationId xmlns:a16="http://schemas.microsoft.com/office/drawing/2014/main" xmlns="" id="{8576718D-B881-4801-A328-A5A0768AECED}"/>
                </a:ext>
              </a:extLst>
            </p:cNvPr>
            <p:cNvCxnSpPr>
              <a:cxnSpLocks/>
            </p:cNvCxnSpPr>
            <p:nvPr/>
          </p:nvCxnSpPr>
          <p:spPr>
            <a:xfrm>
              <a:off x="1106664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65" name="Группа 564">
            <a:extLst>
              <a:ext uri="{FF2B5EF4-FFF2-40B4-BE49-F238E27FC236}">
                <a16:creationId xmlns:a16="http://schemas.microsoft.com/office/drawing/2014/main" xmlns="" id="{61FDAAF5-F19E-4FFA-8D10-08DF677EC964}"/>
              </a:ext>
            </a:extLst>
          </p:cNvPr>
          <p:cNvGrpSpPr/>
          <p:nvPr/>
        </p:nvGrpSpPr>
        <p:grpSpPr>
          <a:xfrm>
            <a:off x="2127132" y="2555213"/>
            <a:ext cx="1925444" cy="1030957"/>
            <a:chOff x="2127132" y="2555213"/>
            <a:chExt cx="1925444" cy="1030957"/>
          </a:xfrm>
        </p:grpSpPr>
        <p:sp>
          <p:nvSpPr>
            <p:cNvPr id="566" name="Текст 2">
              <a:extLst>
                <a:ext uri="{FF2B5EF4-FFF2-40B4-BE49-F238E27FC236}">
                  <a16:creationId xmlns:a16="http://schemas.microsoft.com/office/drawing/2014/main" xmlns="" id="{842F88C6-81C7-45B6-8CE9-E656A5E88592}"/>
                </a:ext>
              </a:extLst>
            </p:cNvPr>
            <p:cNvSpPr txBox="1">
              <a:spLocks/>
            </p:cNvSpPr>
            <p:nvPr/>
          </p:nvSpPr>
          <p:spPr>
            <a:xfrm>
              <a:off x="2127132" y="2555213"/>
              <a:ext cx="1925444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8-е 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67" name="Straight Connector 196">
              <a:extLst>
                <a:ext uri="{FF2B5EF4-FFF2-40B4-BE49-F238E27FC236}">
                  <a16:creationId xmlns:a16="http://schemas.microsoft.com/office/drawing/2014/main" xmlns="" id="{6C0540F6-EC0E-4871-B6EA-DB9D5BA3504A}"/>
                </a:ext>
              </a:extLst>
            </p:cNvPr>
            <p:cNvCxnSpPr>
              <a:cxnSpLocks/>
            </p:cNvCxnSpPr>
            <p:nvPr/>
          </p:nvCxnSpPr>
          <p:spPr>
            <a:xfrm>
              <a:off x="2178060" y="2902999"/>
              <a:ext cx="0" cy="683171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68" name="Группа 567">
            <a:extLst>
              <a:ext uri="{FF2B5EF4-FFF2-40B4-BE49-F238E27FC236}">
                <a16:creationId xmlns:a16="http://schemas.microsoft.com/office/drawing/2014/main" xmlns="" id="{A55E0C68-0811-4BFA-A4F8-0B474C70AD5D}"/>
              </a:ext>
            </a:extLst>
          </p:cNvPr>
          <p:cNvGrpSpPr/>
          <p:nvPr/>
        </p:nvGrpSpPr>
        <p:grpSpPr>
          <a:xfrm>
            <a:off x="3180590" y="3956876"/>
            <a:ext cx="2050741" cy="1705569"/>
            <a:chOff x="3180590" y="3956876"/>
            <a:chExt cx="2050741" cy="1705569"/>
          </a:xfrm>
        </p:grpSpPr>
        <p:sp>
          <p:nvSpPr>
            <p:cNvPr id="569" name="Текст 2">
              <a:extLst>
                <a:ext uri="{FF2B5EF4-FFF2-40B4-BE49-F238E27FC236}">
                  <a16:creationId xmlns:a16="http://schemas.microsoft.com/office/drawing/2014/main" xmlns="" id="{8270416A-BDA2-4AAA-B9A8-B1872DC746BF}"/>
                </a:ext>
              </a:extLst>
            </p:cNvPr>
            <p:cNvSpPr txBox="1">
              <a:spLocks/>
            </p:cNvSpPr>
            <p:nvPr/>
          </p:nvSpPr>
          <p:spPr>
            <a:xfrm>
              <a:off x="3180590" y="5416224"/>
              <a:ext cx="2050741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9-е 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0" name="Straight Connector 205">
              <a:extLst>
                <a:ext uri="{FF2B5EF4-FFF2-40B4-BE49-F238E27FC236}">
                  <a16:creationId xmlns:a16="http://schemas.microsoft.com/office/drawing/2014/main" xmlns="" id="{27E69324-918C-4F3B-BF22-C7145013D856}"/>
                </a:ext>
              </a:extLst>
            </p:cNvPr>
            <p:cNvCxnSpPr>
              <a:cxnSpLocks/>
            </p:cNvCxnSpPr>
            <p:nvPr/>
          </p:nvCxnSpPr>
          <p:spPr>
            <a:xfrm>
              <a:off x="3244953" y="3956876"/>
              <a:ext cx="0" cy="133476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1" name="Группа 570">
            <a:extLst>
              <a:ext uri="{FF2B5EF4-FFF2-40B4-BE49-F238E27FC236}">
                <a16:creationId xmlns:a16="http://schemas.microsoft.com/office/drawing/2014/main" xmlns="" id="{4C005D15-F5D1-4485-B215-6529C2725E76}"/>
              </a:ext>
            </a:extLst>
          </p:cNvPr>
          <p:cNvGrpSpPr/>
          <p:nvPr/>
        </p:nvGrpSpPr>
        <p:grpSpPr>
          <a:xfrm>
            <a:off x="4305963" y="1906550"/>
            <a:ext cx="2050741" cy="1652502"/>
            <a:chOff x="4305963" y="1745587"/>
            <a:chExt cx="2050741" cy="1813464"/>
          </a:xfrm>
        </p:grpSpPr>
        <p:sp>
          <p:nvSpPr>
            <p:cNvPr id="572" name="Текст 2">
              <a:extLst>
                <a:ext uri="{FF2B5EF4-FFF2-40B4-BE49-F238E27FC236}">
                  <a16:creationId xmlns:a16="http://schemas.microsoft.com/office/drawing/2014/main" xmlns="" id="{77ECA745-F7E1-4DEF-B2FD-295F60692460}"/>
                </a:ext>
              </a:extLst>
            </p:cNvPr>
            <p:cNvSpPr txBox="1">
              <a:spLocks/>
            </p:cNvSpPr>
            <p:nvPr/>
          </p:nvSpPr>
          <p:spPr>
            <a:xfrm>
              <a:off x="4305963" y="1745587"/>
              <a:ext cx="2050741" cy="2462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СПО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3" name="Straight Connector 206">
              <a:extLst>
                <a:ext uri="{FF2B5EF4-FFF2-40B4-BE49-F238E27FC236}">
                  <a16:creationId xmlns:a16="http://schemas.microsoft.com/office/drawing/2014/main" xmlns="" id="{25F70D8F-EF37-4167-AA18-E8B8F0583CDE}"/>
                </a:ext>
              </a:extLst>
            </p:cNvPr>
            <p:cNvCxnSpPr>
              <a:cxnSpLocks/>
            </p:cNvCxnSpPr>
            <p:nvPr/>
          </p:nvCxnSpPr>
          <p:spPr>
            <a:xfrm>
              <a:off x="4305963" y="2119745"/>
              <a:ext cx="601" cy="14393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4" name="Группа 573">
            <a:extLst>
              <a:ext uri="{FF2B5EF4-FFF2-40B4-BE49-F238E27FC236}">
                <a16:creationId xmlns:a16="http://schemas.microsoft.com/office/drawing/2014/main" xmlns="" id="{94172386-C51D-482B-9A4E-1DFD420FFB32}"/>
              </a:ext>
            </a:extLst>
          </p:cNvPr>
          <p:cNvGrpSpPr/>
          <p:nvPr/>
        </p:nvGrpSpPr>
        <p:grpSpPr>
          <a:xfrm>
            <a:off x="5315011" y="3956876"/>
            <a:ext cx="1799758" cy="763265"/>
            <a:chOff x="5315011" y="3956876"/>
            <a:chExt cx="1799758" cy="763265"/>
          </a:xfrm>
        </p:grpSpPr>
        <p:sp>
          <p:nvSpPr>
            <p:cNvPr id="575" name="Текст 2">
              <a:extLst>
                <a:ext uri="{FF2B5EF4-FFF2-40B4-BE49-F238E27FC236}">
                  <a16:creationId xmlns:a16="http://schemas.microsoft.com/office/drawing/2014/main" xmlns="" id="{87C169F9-E558-4BE4-B4CA-89E92D3B2BEF}"/>
                </a:ext>
              </a:extLst>
            </p:cNvPr>
            <p:cNvSpPr txBox="1">
              <a:spLocks/>
            </p:cNvSpPr>
            <p:nvPr/>
          </p:nvSpPr>
          <p:spPr>
            <a:xfrm>
              <a:off x="5315011" y="4473920"/>
              <a:ext cx="179975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 smtClean="0">
                  <a:solidFill>
                    <a:srgbClr val="CD441F"/>
                  </a:solidFill>
                  <a:latin typeface="Arial" panose="020B0604020202020204"/>
                </a:rPr>
                <a:t>10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-е 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D44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6" name="Straight Connector 209">
              <a:extLst>
                <a:ext uri="{FF2B5EF4-FFF2-40B4-BE49-F238E27FC236}">
                  <a16:creationId xmlns:a16="http://schemas.microsoft.com/office/drawing/2014/main" xmlns="" id="{5DB96980-1EE4-4192-8CBD-8D8A3FC69ACE}"/>
                </a:ext>
              </a:extLst>
            </p:cNvPr>
            <p:cNvCxnSpPr>
              <a:cxnSpLocks/>
            </p:cNvCxnSpPr>
            <p:nvPr/>
          </p:nvCxnSpPr>
          <p:spPr>
            <a:xfrm>
              <a:off x="5379373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7" name="Группа 576">
            <a:extLst>
              <a:ext uri="{FF2B5EF4-FFF2-40B4-BE49-F238E27FC236}">
                <a16:creationId xmlns:a16="http://schemas.microsoft.com/office/drawing/2014/main" xmlns="" id="{512ABF12-1D14-4891-B84B-19DEE8F5DB46}"/>
              </a:ext>
            </a:extLst>
          </p:cNvPr>
          <p:cNvGrpSpPr/>
          <p:nvPr/>
        </p:nvGrpSpPr>
        <p:grpSpPr>
          <a:xfrm>
            <a:off x="6368416" y="2346321"/>
            <a:ext cx="2050741" cy="1251458"/>
            <a:chOff x="6368416" y="2346321"/>
            <a:chExt cx="2050741" cy="1251458"/>
          </a:xfrm>
        </p:grpSpPr>
        <p:sp>
          <p:nvSpPr>
            <p:cNvPr id="578" name="Текст 2">
              <a:extLst>
                <a:ext uri="{FF2B5EF4-FFF2-40B4-BE49-F238E27FC236}">
                  <a16:creationId xmlns:a16="http://schemas.microsoft.com/office/drawing/2014/main" xmlns="" id="{1E58E071-0862-4E6B-BAF2-FB58A26D9486}"/>
                </a:ext>
              </a:extLst>
            </p:cNvPr>
            <p:cNvSpPr txBox="1">
              <a:spLocks/>
            </p:cNvSpPr>
            <p:nvPr/>
          </p:nvSpPr>
          <p:spPr>
            <a:xfrm>
              <a:off x="6368416" y="2346321"/>
              <a:ext cx="2050741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11-е 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D44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9" name="Straight Connector 211">
              <a:extLst>
                <a:ext uri="{FF2B5EF4-FFF2-40B4-BE49-F238E27FC236}">
                  <a16:creationId xmlns:a16="http://schemas.microsoft.com/office/drawing/2014/main" xmlns="" id="{9B0D0D38-33A9-4F47-B08B-8A60F519FF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36539" y="2678323"/>
              <a:ext cx="3198" cy="91945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0" name="Группа 579">
            <a:extLst>
              <a:ext uri="{FF2B5EF4-FFF2-40B4-BE49-F238E27FC236}">
                <a16:creationId xmlns:a16="http://schemas.microsoft.com/office/drawing/2014/main" xmlns="" id="{03198076-352B-4714-987A-BD6D920D009E}"/>
              </a:ext>
            </a:extLst>
          </p:cNvPr>
          <p:cNvGrpSpPr/>
          <p:nvPr/>
        </p:nvGrpSpPr>
        <p:grpSpPr>
          <a:xfrm>
            <a:off x="7449430" y="3996062"/>
            <a:ext cx="2050741" cy="1933123"/>
            <a:chOff x="7449430" y="3996062"/>
            <a:chExt cx="2050741" cy="1933123"/>
          </a:xfrm>
        </p:grpSpPr>
        <p:sp>
          <p:nvSpPr>
            <p:cNvPr id="581" name="Текст 2">
              <a:extLst>
                <a:ext uri="{FF2B5EF4-FFF2-40B4-BE49-F238E27FC236}">
                  <a16:creationId xmlns:a16="http://schemas.microsoft.com/office/drawing/2014/main" xmlns="" id="{4BF43C43-4583-46E4-ACE2-685C49D306B2}"/>
                </a:ext>
              </a:extLst>
            </p:cNvPr>
            <p:cNvSpPr txBox="1">
              <a:spLocks/>
            </p:cNvSpPr>
            <p:nvPr/>
          </p:nvSpPr>
          <p:spPr>
            <a:xfrm>
              <a:off x="7449430" y="5416224"/>
              <a:ext cx="2050741" cy="51296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>
                  <a:solidFill>
                    <a:srgbClr val="88192B"/>
                  </a:solidFill>
                  <a:latin typeface="Arial" panose="020B0604020202020204"/>
                </a:rPr>
                <a:t>ТУ УГМ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60-70 абитуриент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2" name="Straight Connector 212">
              <a:extLst>
                <a:ext uri="{FF2B5EF4-FFF2-40B4-BE49-F238E27FC236}">
                  <a16:creationId xmlns:a16="http://schemas.microsoft.com/office/drawing/2014/main" xmlns="" id="{083384AA-5C49-4D0B-8E5D-BA299DCB4A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3793" y="3996062"/>
              <a:ext cx="0" cy="1295574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3" name="Группа 582">
            <a:extLst>
              <a:ext uri="{FF2B5EF4-FFF2-40B4-BE49-F238E27FC236}">
                <a16:creationId xmlns:a16="http://schemas.microsoft.com/office/drawing/2014/main" xmlns="" id="{5CF3647A-47FB-4C7F-865C-2AC82652C6B7}"/>
              </a:ext>
            </a:extLst>
          </p:cNvPr>
          <p:cNvGrpSpPr/>
          <p:nvPr/>
        </p:nvGrpSpPr>
        <p:grpSpPr>
          <a:xfrm>
            <a:off x="8497826" y="1608872"/>
            <a:ext cx="2050741" cy="1941554"/>
            <a:chOff x="8497826" y="1608872"/>
            <a:chExt cx="2050741" cy="1941554"/>
          </a:xfrm>
        </p:grpSpPr>
        <p:sp>
          <p:nvSpPr>
            <p:cNvPr id="584" name="Текст 2">
              <a:extLst>
                <a:ext uri="{FF2B5EF4-FFF2-40B4-BE49-F238E27FC236}">
                  <a16:creationId xmlns:a16="http://schemas.microsoft.com/office/drawing/2014/main" xmlns="" id="{9AA00809-4399-4A37-9CE1-A72E3968705E}"/>
                </a:ext>
              </a:extLst>
            </p:cNvPr>
            <p:cNvSpPr txBox="1">
              <a:spLocks/>
            </p:cNvSpPr>
            <p:nvPr/>
          </p:nvSpPr>
          <p:spPr>
            <a:xfrm>
              <a:off x="8497826" y="1608872"/>
              <a:ext cx="2050741" cy="51296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8192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Прочие ВУЗ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8819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30-40 абитуриент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5" name="Straight Connector 213">
              <a:extLst>
                <a:ext uri="{FF2B5EF4-FFF2-40B4-BE49-F238E27FC236}">
                  <a16:creationId xmlns:a16="http://schemas.microsoft.com/office/drawing/2014/main" xmlns="" id="{C8656296-B9CE-4937-93E6-0921E9CB5FA5}"/>
                </a:ext>
              </a:extLst>
            </p:cNvPr>
            <p:cNvCxnSpPr>
              <a:cxnSpLocks/>
            </p:cNvCxnSpPr>
            <p:nvPr/>
          </p:nvCxnSpPr>
          <p:spPr>
            <a:xfrm>
              <a:off x="8571144" y="2255572"/>
              <a:ext cx="0" cy="1294854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6" name="Группа 585">
            <a:extLst>
              <a:ext uri="{FF2B5EF4-FFF2-40B4-BE49-F238E27FC236}">
                <a16:creationId xmlns:a16="http://schemas.microsoft.com/office/drawing/2014/main" xmlns="" id="{E45AAF0E-379E-4982-AE43-9D051342A16F}"/>
              </a:ext>
            </a:extLst>
          </p:cNvPr>
          <p:cNvGrpSpPr/>
          <p:nvPr/>
        </p:nvGrpSpPr>
        <p:grpSpPr>
          <a:xfrm>
            <a:off x="9492408" y="3956876"/>
            <a:ext cx="1958618" cy="1276226"/>
            <a:chOff x="9492408" y="3956876"/>
            <a:chExt cx="1958618" cy="1276226"/>
          </a:xfrm>
        </p:grpSpPr>
        <p:sp>
          <p:nvSpPr>
            <p:cNvPr id="587" name="Текст 2">
              <a:extLst>
                <a:ext uri="{FF2B5EF4-FFF2-40B4-BE49-F238E27FC236}">
                  <a16:creationId xmlns:a16="http://schemas.microsoft.com/office/drawing/2014/main" xmlns="" id="{EC3D6006-A8CC-4E18-A4AA-5EEAACA938F8}"/>
                </a:ext>
              </a:extLst>
            </p:cNvPr>
            <p:cNvSpPr txBox="1">
              <a:spLocks/>
            </p:cNvSpPr>
            <p:nvPr/>
          </p:nvSpPr>
          <p:spPr>
            <a:xfrm>
              <a:off x="9492408" y="4473920"/>
              <a:ext cx="1958618" cy="75918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8192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Трудоустройство в Организации УГМК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8819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100-130 выпускник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8" name="Straight Connector 215">
              <a:extLst>
                <a:ext uri="{FF2B5EF4-FFF2-40B4-BE49-F238E27FC236}">
                  <a16:creationId xmlns:a16="http://schemas.microsoft.com/office/drawing/2014/main" xmlns="" id="{CEEAC25D-685D-4065-B74E-FCA5881F8624}"/>
                </a:ext>
              </a:extLst>
            </p:cNvPr>
            <p:cNvCxnSpPr>
              <a:cxnSpLocks/>
            </p:cNvCxnSpPr>
            <p:nvPr/>
          </p:nvCxnSpPr>
          <p:spPr>
            <a:xfrm>
              <a:off x="9648211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209" name="Группа 208">
            <a:extLst>
              <a:ext uri="{FF2B5EF4-FFF2-40B4-BE49-F238E27FC236}">
                <a16:creationId xmlns:a16="http://schemas.microsoft.com/office/drawing/2014/main" xmlns="" id="{02009106-27A6-454F-BD66-4876545E2AF4}"/>
              </a:ext>
            </a:extLst>
          </p:cNvPr>
          <p:cNvGrpSpPr/>
          <p:nvPr/>
        </p:nvGrpSpPr>
        <p:grpSpPr>
          <a:xfrm>
            <a:off x="837631" y="3494710"/>
            <a:ext cx="550305" cy="550305"/>
            <a:chOff x="1729142" y="2873137"/>
            <a:chExt cx="550305" cy="550305"/>
          </a:xfrm>
        </p:grpSpPr>
        <p:sp>
          <p:nvSpPr>
            <p:cNvPr id="210" name="Овал 209">
              <a:extLst>
                <a:ext uri="{FF2B5EF4-FFF2-40B4-BE49-F238E27FC236}">
                  <a16:creationId xmlns:a16="http://schemas.microsoft.com/office/drawing/2014/main" xmlns="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11" name="Группа 210">
              <a:extLst>
                <a:ext uri="{FF2B5EF4-FFF2-40B4-BE49-F238E27FC236}">
                  <a16:creationId xmlns:a16="http://schemas.microsoft.com/office/drawing/2014/main" xmlns="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12" name="Рисунок 61">
                <a:extLst>
                  <a:ext uri="{FF2B5EF4-FFF2-40B4-BE49-F238E27FC236}">
                    <a16:creationId xmlns:a16="http://schemas.microsoft.com/office/drawing/2014/main" xmlns="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Рисунок 61">
                <a:extLst>
                  <a:ext uri="{FF2B5EF4-FFF2-40B4-BE49-F238E27FC236}">
                    <a16:creationId xmlns:a16="http://schemas.microsoft.com/office/drawing/2014/main" xmlns="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Рисунок 61">
                <a:extLst>
                  <a:ext uri="{FF2B5EF4-FFF2-40B4-BE49-F238E27FC236}">
                    <a16:creationId xmlns:a16="http://schemas.microsoft.com/office/drawing/2014/main" xmlns="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Рисунок 61">
                <a:extLst>
                  <a:ext uri="{FF2B5EF4-FFF2-40B4-BE49-F238E27FC236}">
                    <a16:creationId xmlns:a16="http://schemas.microsoft.com/office/drawing/2014/main" xmlns="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6" name="Рисунок 61">
                <a:extLst>
                  <a:ext uri="{FF2B5EF4-FFF2-40B4-BE49-F238E27FC236}">
                    <a16:creationId xmlns:a16="http://schemas.microsoft.com/office/drawing/2014/main" xmlns="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Рисунок 61">
                <a:extLst>
                  <a:ext uri="{FF2B5EF4-FFF2-40B4-BE49-F238E27FC236}">
                    <a16:creationId xmlns:a16="http://schemas.microsoft.com/office/drawing/2014/main" xmlns="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Рисунок 61">
                <a:extLst>
                  <a:ext uri="{FF2B5EF4-FFF2-40B4-BE49-F238E27FC236}">
                    <a16:creationId xmlns:a16="http://schemas.microsoft.com/office/drawing/2014/main" xmlns="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Рисунок 61">
                <a:extLst>
                  <a:ext uri="{FF2B5EF4-FFF2-40B4-BE49-F238E27FC236}">
                    <a16:creationId xmlns:a16="http://schemas.microsoft.com/office/drawing/2014/main" xmlns="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Рисунок 61">
                <a:extLst>
                  <a:ext uri="{FF2B5EF4-FFF2-40B4-BE49-F238E27FC236}">
                    <a16:creationId xmlns:a16="http://schemas.microsoft.com/office/drawing/2014/main" xmlns="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Рисунок 61">
                <a:extLst>
                  <a:ext uri="{FF2B5EF4-FFF2-40B4-BE49-F238E27FC236}">
                    <a16:creationId xmlns:a16="http://schemas.microsoft.com/office/drawing/2014/main" xmlns="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Рисунок 61">
                <a:extLst>
                  <a:ext uri="{FF2B5EF4-FFF2-40B4-BE49-F238E27FC236}">
                    <a16:creationId xmlns:a16="http://schemas.microsoft.com/office/drawing/2014/main" xmlns="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Рисунок 61">
                <a:extLst>
                  <a:ext uri="{FF2B5EF4-FFF2-40B4-BE49-F238E27FC236}">
                    <a16:creationId xmlns:a16="http://schemas.microsoft.com/office/drawing/2014/main" xmlns="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Рисунок 61">
                <a:extLst>
                  <a:ext uri="{FF2B5EF4-FFF2-40B4-BE49-F238E27FC236}">
                    <a16:creationId xmlns:a16="http://schemas.microsoft.com/office/drawing/2014/main" xmlns="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Рисунок 61">
                <a:extLst>
                  <a:ext uri="{FF2B5EF4-FFF2-40B4-BE49-F238E27FC236}">
                    <a16:creationId xmlns:a16="http://schemas.microsoft.com/office/drawing/2014/main" xmlns="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7" name="Группа 226">
            <a:extLst>
              <a:ext uri="{FF2B5EF4-FFF2-40B4-BE49-F238E27FC236}">
                <a16:creationId xmlns:a16="http://schemas.microsoft.com/office/drawing/2014/main" xmlns="" id="{02009106-27A6-454F-BD66-4876545E2AF4}"/>
              </a:ext>
            </a:extLst>
          </p:cNvPr>
          <p:cNvGrpSpPr/>
          <p:nvPr/>
        </p:nvGrpSpPr>
        <p:grpSpPr>
          <a:xfrm>
            <a:off x="1890670" y="3496889"/>
            <a:ext cx="550305" cy="550305"/>
            <a:chOff x="1729142" y="2873137"/>
            <a:chExt cx="550305" cy="550305"/>
          </a:xfrm>
        </p:grpSpPr>
        <p:sp>
          <p:nvSpPr>
            <p:cNvPr id="228" name="Овал 227">
              <a:extLst>
                <a:ext uri="{FF2B5EF4-FFF2-40B4-BE49-F238E27FC236}">
                  <a16:creationId xmlns:a16="http://schemas.microsoft.com/office/drawing/2014/main" xmlns="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29" name="Группа 228">
              <a:extLst>
                <a:ext uri="{FF2B5EF4-FFF2-40B4-BE49-F238E27FC236}">
                  <a16:creationId xmlns:a16="http://schemas.microsoft.com/office/drawing/2014/main" xmlns="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30" name="Рисунок 61">
                <a:extLst>
                  <a:ext uri="{FF2B5EF4-FFF2-40B4-BE49-F238E27FC236}">
                    <a16:creationId xmlns:a16="http://schemas.microsoft.com/office/drawing/2014/main" xmlns="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Рисунок 61">
                <a:extLst>
                  <a:ext uri="{FF2B5EF4-FFF2-40B4-BE49-F238E27FC236}">
                    <a16:creationId xmlns:a16="http://schemas.microsoft.com/office/drawing/2014/main" xmlns="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Рисунок 61">
                <a:extLst>
                  <a:ext uri="{FF2B5EF4-FFF2-40B4-BE49-F238E27FC236}">
                    <a16:creationId xmlns:a16="http://schemas.microsoft.com/office/drawing/2014/main" xmlns="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Рисунок 61">
                <a:extLst>
                  <a:ext uri="{FF2B5EF4-FFF2-40B4-BE49-F238E27FC236}">
                    <a16:creationId xmlns:a16="http://schemas.microsoft.com/office/drawing/2014/main" xmlns="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Рисунок 61">
                <a:extLst>
                  <a:ext uri="{FF2B5EF4-FFF2-40B4-BE49-F238E27FC236}">
                    <a16:creationId xmlns:a16="http://schemas.microsoft.com/office/drawing/2014/main" xmlns="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Рисунок 61">
                <a:extLst>
                  <a:ext uri="{FF2B5EF4-FFF2-40B4-BE49-F238E27FC236}">
                    <a16:creationId xmlns:a16="http://schemas.microsoft.com/office/drawing/2014/main" xmlns="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Рисунок 61">
                <a:extLst>
                  <a:ext uri="{FF2B5EF4-FFF2-40B4-BE49-F238E27FC236}">
                    <a16:creationId xmlns:a16="http://schemas.microsoft.com/office/drawing/2014/main" xmlns="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Рисунок 61">
                <a:extLst>
                  <a:ext uri="{FF2B5EF4-FFF2-40B4-BE49-F238E27FC236}">
                    <a16:creationId xmlns:a16="http://schemas.microsoft.com/office/drawing/2014/main" xmlns="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Рисунок 61">
                <a:extLst>
                  <a:ext uri="{FF2B5EF4-FFF2-40B4-BE49-F238E27FC236}">
                    <a16:creationId xmlns:a16="http://schemas.microsoft.com/office/drawing/2014/main" xmlns="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Рисунок 61">
                <a:extLst>
                  <a:ext uri="{FF2B5EF4-FFF2-40B4-BE49-F238E27FC236}">
                    <a16:creationId xmlns:a16="http://schemas.microsoft.com/office/drawing/2014/main" xmlns="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Рисунок 61">
                <a:extLst>
                  <a:ext uri="{FF2B5EF4-FFF2-40B4-BE49-F238E27FC236}">
                    <a16:creationId xmlns:a16="http://schemas.microsoft.com/office/drawing/2014/main" xmlns="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Рисунок 61">
                <a:extLst>
                  <a:ext uri="{FF2B5EF4-FFF2-40B4-BE49-F238E27FC236}">
                    <a16:creationId xmlns:a16="http://schemas.microsoft.com/office/drawing/2014/main" xmlns="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Рисунок 61">
                <a:extLst>
                  <a:ext uri="{FF2B5EF4-FFF2-40B4-BE49-F238E27FC236}">
                    <a16:creationId xmlns:a16="http://schemas.microsoft.com/office/drawing/2014/main" xmlns="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Рисунок 61">
                <a:extLst>
                  <a:ext uri="{FF2B5EF4-FFF2-40B4-BE49-F238E27FC236}">
                    <a16:creationId xmlns:a16="http://schemas.microsoft.com/office/drawing/2014/main" xmlns="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xmlns="" id="{02009106-27A6-454F-BD66-4876545E2AF4}"/>
              </a:ext>
            </a:extLst>
          </p:cNvPr>
          <p:cNvGrpSpPr/>
          <p:nvPr/>
        </p:nvGrpSpPr>
        <p:grpSpPr>
          <a:xfrm>
            <a:off x="2973667" y="3489676"/>
            <a:ext cx="550305" cy="550305"/>
            <a:chOff x="1729142" y="2873137"/>
            <a:chExt cx="550305" cy="550305"/>
          </a:xfrm>
        </p:grpSpPr>
        <p:sp>
          <p:nvSpPr>
            <p:cNvPr id="245" name="Овал 244">
              <a:extLst>
                <a:ext uri="{FF2B5EF4-FFF2-40B4-BE49-F238E27FC236}">
                  <a16:creationId xmlns:a16="http://schemas.microsoft.com/office/drawing/2014/main" xmlns="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46" name="Группа 245">
              <a:extLst>
                <a:ext uri="{FF2B5EF4-FFF2-40B4-BE49-F238E27FC236}">
                  <a16:creationId xmlns:a16="http://schemas.microsoft.com/office/drawing/2014/main" xmlns="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47" name="Рисунок 61">
                <a:extLst>
                  <a:ext uri="{FF2B5EF4-FFF2-40B4-BE49-F238E27FC236}">
                    <a16:creationId xmlns:a16="http://schemas.microsoft.com/office/drawing/2014/main" xmlns="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Рисунок 61">
                <a:extLst>
                  <a:ext uri="{FF2B5EF4-FFF2-40B4-BE49-F238E27FC236}">
                    <a16:creationId xmlns:a16="http://schemas.microsoft.com/office/drawing/2014/main" xmlns="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Рисунок 61">
                <a:extLst>
                  <a:ext uri="{FF2B5EF4-FFF2-40B4-BE49-F238E27FC236}">
                    <a16:creationId xmlns:a16="http://schemas.microsoft.com/office/drawing/2014/main" xmlns="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Рисунок 61">
                <a:extLst>
                  <a:ext uri="{FF2B5EF4-FFF2-40B4-BE49-F238E27FC236}">
                    <a16:creationId xmlns:a16="http://schemas.microsoft.com/office/drawing/2014/main" xmlns="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1" name="Рисунок 61">
                <a:extLst>
                  <a:ext uri="{FF2B5EF4-FFF2-40B4-BE49-F238E27FC236}">
                    <a16:creationId xmlns:a16="http://schemas.microsoft.com/office/drawing/2014/main" xmlns="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Рисунок 61">
                <a:extLst>
                  <a:ext uri="{FF2B5EF4-FFF2-40B4-BE49-F238E27FC236}">
                    <a16:creationId xmlns:a16="http://schemas.microsoft.com/office/drawing/2014/main" xmlns="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3" name="Рисунок 61">
                <a:extLst>
                  <a:ext uri="{FF2B5EF4-FFF2-40B4-BE49-F238E27FC236}">
                    <a16:creationId xmlns:a16="http://schemas.microsoft.com/office/drawing/2014/main" xmlns="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Рисунок 61">
                <a:extLst>
                  <a:ext uri="{FF2B5EF4-FFF2-40B4-BE49-F238E27FC236}">
                    <a16:creationId xmlns:a16="http://schemas.microsoft.com/office/drawing/2014/main" xmlns="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5" name="Рисунок 61">
                <a:extLst>
                  <a:ext uri="{FF2B5EF4-FFF2-40B4-BE49-F238E27FC236}">
                    <a16:creationId xmlns:a16="http://schemas.microsoft.com/office/drawing/2014/main" xmlns="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6" name="Рисунок 61">
                <a:extLst>
                  <a:ext uri="{FF2B5EF4-FFF2-40B4-BE49-F238E27FC236}">
                    <a16:creationId xmlns:a16="http://schemas.microsoft.com/office/drawing/2014/main" xmlns="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Рисунок 61">
                <a:extLst>
                  <a:ext uri="{FF2B5EF4-FFF2-40B4-BE49-F238E27FC236}">
                    <a16:creationId xmlns:a16="http://schemas.microsoft.com/office/drawing/2014/main" xmlns="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Рисунок 61">
                <a:extLst>
                  <a:ext uri="{FF2B5EF4-FFF2-40B4-BE49-F238E27FC236}">
                    <a16:creationId xmlns:a16="http://schemas.microsoft.com/office/drawing/2014/main" xmlns="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Рисунок 61">
                <a:extLst>
                  <a:ext uri="{FF2B5EF4-FFF2-40B4-BE49-F238E27FC236}">
                    <a16:creationId xmlns:a16="http://schemas.microsoft.com/office/drawing/2014/main" xmlns="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Рисунок 61">
                <a:extLst>
                  <a:ext uri="{FF2B5EF4-FFF2-40B4-BE49-F238E27FC236}">
                    <a16:creationId xmlns:a16="http://schemas.microsoft.com/office/drawing/2014/main" xmlns="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1" name="Группа 260">
            <a:extLst>
              <a:ext uri="{FF2B5EF4-FFF2-40B4-BE49-F238E27FC236}">
                <a16:creationId xmlns:a16="http://schemas.microsoft.com/office/drawing/2014/main" xmlns="" id="{57387D8B-68C3-4A66-A6CB-13BE97DF8AC1}"/>
              </a:ext>
            </a:extLst>
          </p:cNvPr>
          <p:cNvGrpSpPr/>
          <p:nvPr/>
        </p:nvGrpSpPr>
        <p:grpSpPr>
          <a:xfrm>
            <a:off x="3945268" y="3405579"/>
            <a:ext cx="725361" cy="732180"/>
            <a:chOff x="4462403" y="5016400"/>
            <a:chExt cx="550305" cy="550305"/>
          </a:xfrm>
        </p:grpSpPr>
        <p:sp>
          <p:nvSpPr>
            <p:cNvPr id="262" name="Овал 261">
              <a:extLst>
                <a:ext uri="{FF2B5EF4-FFF2-40B4-BE49-F238E27FC236}">
                  <a16:creationId xmlns:a16="http://schemas.microsoft.com/office/drawing/2014/main" xmlns="" id="{D2804D1B-F3C3-46F1-923F-889ED9D39DE4}"/>
                </a:ext>
              </a:extLst>
            </p:cNvPr>
            <p:cNvSpPr/>
            <p:nvPr/>
          </p:nvSpPr>
          <p:spPr>
            <a:xfrm>
              <a:off x="4462403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63" name="Рисунок 88">
              <a:extLst>
                <a:ext uri="{FF2B5EF4-FFF2-40B4-BE49-F238E27FC236}">
                  <a16:creationId xmlns:a16="http://schemas.microsoft.com/office/drawing/2014/main" xmlns="" id="{183B4389-FD38-4A02-AD8E-B26DCA202F4B}"/>
                </a:ext>
              </a:extLst>
            </p:cNvPr>
            <p:cNvGrpSpPr/>
            <p:nvPr/>
          </p:nvGrpSpPr>
          <p:grpSpPr>
            <a:xfrm>
              <a:off x="4586402" y="5119064"/>
              <a:ext cx="303701" cy="346782"/>
              <a:chOff x="4586402" y="5119064"/>
              <a:chExt cx="303701" cy="346782"/>
            </a:xfrm>
            <a:solidFill>
              <a:srgbClr val="231F20"/>
            </a:solidFill>
          </p:grpSpPr>
          <p:sp>
            <p:nvSpPr>
              <p:cNvPr id="264" name="Рисунок 88">
                <a:extLst>
                  <a:ext uri="{FF2B5EF4-FFF2-40B4-BE49-F238E27FC236}">
                    <a16:creationId xmlns:a16="http://schemas.microsoft.com/office/drawing/2014/main" xmlns="" id="{8B23C696-8F6B-4436-97E8-75CB7F98F76A}"/>
                  </a:ext>
                </a:extLst>
              </p:cNvPr>
              <p:cNvSpPr/>
              <p:nvPr/>
            </p:nvSpPr>
            <p:spPr>
              <a:xfrm>
                <a:off x="4586402" y="5313610"/>
                <a:ext cx="198534" cy="123308"/>
              </a:xfrm>
              <a:custGeom>
                <a:avLst/>
                <a:gdLst>
                  <a:gd name="connsiteX0" fmla="*/ 117884 w 198534"/>
                  <a:gd name="connsiteY0" fmla="*/ 10848 h 123308"/>
                  <a:gd name="connsiteX1" fmla="*/ 189483 w 198534"/>
                  <a:gd name="connsiteY1" fmla="*/ 38330 h 123308"/>
                  <a:gd name="connsiteX2" fmla="*/ 197076 w 198534"/>
                  <a:gd name="connsiteY2" fmla="*/ 37969 h 123308"/>
                  <a:gd name="connsiteX3" fmla="*/ 196715 w 198534"/>
                  <a:gd name="connsiteY3" fmla="*/ 30375 h 123308"/>
                  <a:gd name="connsiteX4" fmla="*/ 117884 w 198534"/>
                  <a:gd name="connsiteY4" fmla="*/ 0 h 123308"/>
                  <a:gd name="connsiteX5" fmla="*/ 0 w 198534"/>
                  <a:gd name="connsiteY5" fmla="*/ 117884 h 123308"/>
                  <a:gd name="connsiteX6" fmla="*/ 5424 w 198534"/>
                  <a:gd name="connsiteY6" fmla="*/ 123308 h 123308"/>
                  <a:gd name="connsiteX7" fmla="*/ 110290 w 198534"/>
                  <a:gd name="connsiteY7" fmla="*/ 123308 h 123308"/>
                  <a:gd name="connsiteX8" fmla="*/ 115715 w 198534"/>
                  <a:gd name="connsiteY8" fmla="*/ 117884 h 123308"/>
                  <a:gd name="connsiteX9" fmla="*/ 110290 w 198534"/>
                  <a:gd name="connsiteY9" fmla="*/ 112460 h 123308"/>
                  <a:gd name="connsiteX10" fmla="*/ 10848 w 198534"/>
                  <a:gd name="connsiteY10" fmla="*/ 112460 h 123308"/>
                  <a:gd name="connsiteX11" fmla="*/ 117884 w 198534"/>
                  <a:gd name="connsiteY11" fmla="*/ 10848 h 12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8534" h="123308">
                    <a:moveTo>
                      <a:pt x="117884" y="10848"/>
                    </a:moveTo>
                    <a:cubicBezTo>
                      <a:pt x="144282" y="10848"/>
                      <a:pt x="169956" y="20612"/>
                      <a:pt x="189483" y="38330"/>
                    </a:cubicBezTo>
                    <a:cubicBezTo>
                      <a:pt x="191652" y="40500"/>
                      <a:pt x="195268" y="40138"/>
                      <a:pt x="197076" y="37969"/>
                    </a:cubicBezTo>
                    <a:cubicBezTo>
                      <a:pt x="199246" y="35799"/>
                      <a:pt x="198884" y="32183"/>
                      <a:pt x="196715" y="30375"/>
                    </a:cubicBezTo>
                    <a:cubicBezTo>
                      <a:pt x="175018" y="10848"/>
                      <a:pt x="147174" y="0"/>
                      <a:pt x="117884" y="0"/>
                    </a:cubicBezTo>
                    <a:cubicBezTo>
                      <a:pt x="52795" y="0"/>
                      <a:pt x="0" y="52795"/>
                      <a:pt x="0" y="117884"/>
                    </a:cubicBezTo>
                    <a:cubicBezTo>
                      <a:pt x="0" y="120777"/>
                      <a:pt x="2531" y="123308"/>
                      <a:pt x="5424" y="123308"/>
                    </a:cubicBezTo>
                    <a:lnTo>
                      <a:pt x="110290" y="123308"/>
                    </a:lnTo>
                    <a:cubicBezTo>
                      <a:pt x="113183" y="123308"/>
                      <a:pt x="115715" y="120777"/>
                      <a:pt x="115715" y="117884"/>
                    </a:cubicBezTo>
                    <a:cubicBezTo>
                      <a:pt x="115715" y="114991"/>
                      <a:pt x="113183" y="112460"/>
                      <a:pt x="110290" y="112460"/>
                    </a:cubicBezTo>
                    <a:lnTo>
                      <a:pt x="10848" y="112460"/>
                    </a:lnTo>
                    <a:cubicBezTo>
                      <a:pt x="13741" y="56049"/>
                      <a:pt x="60389" y="10848"/>
                      <a:pt x="117884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Рисунок 88">
                <a:extLst>
                  <a:ext uri="{FF2B5EF4-FFF2-40B4-BE49-F238E27FC236}">
                    <a16:creationId xmlns:a16="http://schemas.microsoft.com/office/drawing/2014/main" xmlns="" id="{D8C7B0D6-76CF-40F7-84C6-FDA0D3BA6B58}"/>
                  </a:ext>
                </a:extLst>
              </p:cNvPr>
              <p:cNvSpPr/>
              <p:nvPr/>
            </p:nvSpPr>
            <p:spPr>
              <a:xfrm>
                <a:off x="4613823" y="5119064"/>
                <a:ext cx="175079" cy="185866"/>
              </a:xfrm>
              <a:custGeom>
                <a:avLst/>
                <a:gdLst>
                  <a:gd name="connsiteX0" fmla="*/ 12717 w 175079"/>
                  <a:gd name="connsiteY0" fmla="*/ 118246 h 185866"/>
                  <a:gd name="connsiteX1" fmla="*/ 14525 w 175079"/>
                  <a:gd name="connsiteY1" fmla="*/ 118246 h 185866"/>
                  <a:gd name="connsiteX2" fmla="*/ 87209 w 175079"/>
                  <a:gd name="connsiteY2" fmla="*/ 185867 h 185866"/>
                  <a:gd name="connsiteX3" fmla="*/ 159892 w 175079"/>
                  <a:gd name="connsiteY3" fmla="*/ 118246 h 185866"/>
                  <a:gd name="connsiteX4" fmla="*/ 161700 w 175079"/>
                  <a:gd name="connsiteY4" fmla="*/ 118246 h 185866"/>
                  <a:gd name="connsiteX5" fmla="*/ 175079 w 175079"/>
                  <a:gd name="connsiteY5" fmla="*/ 101612 h 185866"/>
                  <a:gd name="connsiteX6" fmla="*/ 166762 w 175079"/>
                  <a:gd name="connsiteY6" fmla="*/ 86063 h 185866"/>
                  <a:gd name="connsiteX7" fmla="*/ 109267 w 175079"/>
                  <a:gd name="connsiteY7" fmla="*/ 14826 h 185866"/>
                  <a:gd name="connsiteX8" fmla="*/ 87570 w 175079"/>
                  <a:gd name="connsiteY8" fmla="*/ 0 h 185866"/>
                  <a:gd name="connsiteX9" fmla="*/ 65874 w 175079"/>
                  <a:gd name="connsiteY9" fmla="*/ 14826 h 185866"/>
                  <a:gd name="connsiteX10" fmla="*/ 8378 w 175079"/>
                  <a:gd name="connsiteY10" fmla="*/ 86063 h 185866"/>
                  <a:gd name="connsiteX11" fmla="*/ 61 w 175079"/>
                  <a:gd name="connsiteY11" fmla="*/ 101612 h 185866"/>
                  <a:gd name="connsiteX12" fmla="*/ 12717 w 175079"/>
                  <a:gd name="connsiteY12" fmla="*/ 118246 h 185866"/>
                  <a:gd name="connsiteX13" fmla="*/ 86847 w 175079"/>
                  <a:gd name="connsiteY13" fmla="*/ 175018 h 185866"/>
                  <a:gd name="connsiteX14" fmla="*/ 25012 w 175079"/>
                  <a:gd name="connsiteY14" fmla="*/ 118246 h 185866"/>
                  <a:gd name="connsiteX15" fmla="*/ 148320 w 175079"/>
                  <a:gd name="connsiteY15" fmla="*/ 118246 h 185866"/>
                  <a:gd name="connsiteX16" fmla="*/ 86847 w 175079"/>
                  <a:gd name="connsiteY16" fmla="*/ 175018 h 185866"/>
                  <a:gd name="connsiteX17" fmla="*/ 108905 w 175079"/>
                  <a:gd name="connsiteY17" fmla="*/ 26759 h 185866"/>
                  <a:gd name="connsiteX18" fmla="*/ 154106 w 175079"/>
                  <a:gd name="connsiteY18" fmla="*/ 86063 h 185866"/>
                  <a:gd name="connsiteX19" fmla="*/ 108905 w 175079"/>
                  <a:gd name="connsiteY19" fmla="*/ 86063 h 185866"/>
                  <a:gd name="connsiteX20" fmla="*/ 108905 w 175079"/>
                  <a:gd name="connsiteY20" fmla="*/ 26759 h 185866"/>
                  <a:gd name="connsiteX21" fmla="*/ 72744 w 175079"/>
                  <a:gd name="connsiteY21" fmla="*/ 23505 h 185866"/>
                  <a:gd name="connsiteX22" fmla="*/ 89378 w 175079"/>
                  <a:gd name="connsiteY22" fmla="*/ 11571 h 185866"/>
                  <a:gd name="connsiteX23" fmla="*/ 98057 w 175079"/>
                  <a:gd name="connsiteY23" fmla="*/ 23866 h 185866"/>
                  <a:gd name="connsiteX24" fmla="*/ 98057 w 175079"/>
                  <a:gd name="connsiteY24" fmla="*/ 85701 h 185866"/>
                  <a:gd name="connsiteX25" fmla="*/ 72744 w 175079"/>
                  <a:gd name="connsiteY25" fmla="*/ 85701 h 185866"/>
                  <a:gd name="connsiteX26" fmla="*/ 72744 w 175079"/>
                  <a:gd name="connsiteY26" fmla="*/ 23505 h 185866"/>
                  <a:gd name="connsiteX27" fmla="*/ 61896 w 175079"/>
                  <a:gd name="connsiteY27" fmla="*/ 26759 h 185866"/>
                  <a:gd name="connsiteX28" fmla="*/ 61896 w 175079"/>
                  <a:gd name="connsiteY28" fmla="*/ 85701 h 185866"/>
                  <a:gd name="connsiteX29" fmla="*/ 17057 w 175079"/>
                  <a:gd name="connsiteY29" fmla="*/ 85701 h 185866"/>
                  <a:gd name="connsiteX30" fmla="*/ 61896 w 175079"/>
                  <a:gd name="connsiteY30" fmla="*/ 26759 h 185866"/>
                  <a:gd name="connsiteX31" fmla="*/ 11633 w 175079"/>
                  <a:gd name="connsiteY31" fmla="*/ 96549 h 185866"/>
                  <a:gd name="connsiteX32" fmla="*/ 12717 w 175079"/>
                  <a:gd name="connsiteY32" fmla="*/ 96549 h 185866"/>
                  <a:gd name="connsiteX33" fmla="*/ 160977 w 175079"/>
                  <a:gd name="connsiteY33" fmla="*/ 96549 h 185866"/>
                  <a:gd name="connsiteX34" fmla="*/ 162061 w 175079"/>
                  <a:gd name="connsiteY34" fmla="*/ 96549 h 185866"/>
                  <a:gd name="connsiteX35" fmla="*/ 163508 w 175079"/>
                  <a:gd name="connsiteY35" fmla="*/ 101612 h 185866"/>
                  <a:gd name="connsiteX36" fmla="*/ 160977 w 175079"/>
                  <a:gd name="connsiteY36" fmla="*/ 107398 h 185866"/>
                  <a:gd name="connsiteX37" fmla="*/ 12717 w 175079"/>
                  <a:gd name="connsiteY37" fmla="*/ 107398 h 185866"/>
                  <a:gd name="connsiteX38" fmla="*/ 10186 w 175079"/>
                  <a:gd name="connsiteY38" fmla="*/ 101612 h 185866"/>
                  <a:gd name="connsiteX39" fmla="*/ 11633 w 175079"/>
                  <a:gd name="connsiteY39" fmla="*/ 96549 h 18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75079" h="185866">
                    <a:moveTo>
                      <a:pt x="12717" y="118246"/>
                    </a:moveTo>
                    <a:lnTo>
                      <a:pt x="14525" y="118246"/>
                    </a:lnTo>
                    <a:cubicBezTo>
                      <a:pt x="17057" y="155853"/>
                      <a:pt x="48517" y="185867"/>
                      <a:pt x="87209" y="185867"/>
                    </a:cubicBezTo>
                    <a:cubicBezTo>
                      <a:pt x="125539" y="185867"/>
                      <a:pt x="156999" y="155853"/>
                      <a:pt x="159892" y="118246"/>
                    </a:cubicBezTo>
                    <a:lnTo>
                      <a:pt x="161700" y="118246"/>
                    </a:lnTo>
                    <a:cubicBezTo>
                      <a:pt x="169294" y="118246"/>
                      <a:pt x="175079" y="111014"/>
                      <a:pt x="175079" y="101612"/>
                    </a:cubicBezTo>
                    <a:cubicBezTo>
                      <a:pt x="175079" y="94380"/>
                      <a:pt x="171825" y="88594"/>
                      <a:pt x="166762" y="86063"/>
                    </a:cubicBezTo>
                    <a:cubicBezTo>
                      <a:pt x="164593" y="52433"/>
                      <a:pt x="141450" y="23866"/>
                      <a:pt x="109267" y="14826"/>
                    </a:cubicBezTo>
                    <a:cubicBezTo>
                      <a:pt x="105651" y="6147"/>
                      <a:pt x="97334" y="0"/>
                      <a:pt x="87570" y="0"/>
                    </a:cubicBezTo>
                    <a:cubicBezTo>
                      <a:pt x="77807" y="0"/>
                      <a:pt x="69128" y="6147"/>
                      <a:pt x="65874" y="14826"/>
                    </a:cubicBezTo>
                    <a:cubicBezTo>
                      <a:pt x="33691" y="24228"/>
                      <a:pt x="10548" y="52433"/>
                      <a:pt x="8378" y="86063"/>
                    </a:cubicBezTo>
                    <a:cubicBezTo>
                      <a:pt x="3677" y="88594"/>
                      <a:pt x="61" y="94380"/>
                      <a:pt x="61" y="101612"/>
                    </a:cubicBezTo>
                    <a:cubicBezTo>
                      <a:pt x="-662" y="111014"/>
                      <a:pt x="5124" y="118246"/>
                      <a:pt x="12717" y="118246"/>
                    </a:cubicBezTo>
                    <a:close/>
                    <a:moveTo>
                      <a:pt x="86847" y="175018"/>
                    </a:moveTo>
                    <a:cubicBezTo>
                      <a:pt x="54302" y="175018"/>
                      <a:pt x="27905" y="150067"/>
                      <a:pt x="25012" y="118246"/>
                    </a:cubicBezTo>
                    <a:lnTo>
                      <a:pt x="148320" y="118246"/>
                    </a:lnTo>
                    <a:cubicBezTo>
                      <a:pt x="145789" y="150067"/>
                      <a:pt x="119030" y="175018"/>
                      <a:pt x="86847" y="175018"/>
                    </a:cubicBezTo>
                    <a:close/>
                    <a:moveTo>
                      <a:pt x="108905" y="26759"/>
                    </a:moveTo>
                    <a:cubicBezTo>
                      <a:pt x="134218" y="35799"/>
                      <a:pt x="151936" y="58942"/>
                      <a:pt x="154106" y="86063"/>
                    </a:cubicBezTo>
                    <a:lnTo>
                      <a:pt x="108905" y="86063"/>
                    </a:lnTo>
                    <a:lnTo>
                      <a:pt x="108905" y="26759"/>
                    </a:lnTo>
                    <a:close/>
                    <a:moveTo>
                      <a:pt x="72744" y="23505"/>
                    </a:moveTo>
                    <a:cubicBezTo>
                      <a:pt x="72744" y="15188"/>
                      <a:pt x="80700" y="8679"/>
                      <a:pt x="89378" y="11571"/>
                    </a:cubicBezTo>
                    <a:cubicBezTo>
                      <a:pt x="94441" y="13379"/>
                      <a:pt x="98057" y="18442"/>
                      <a:pt x="98057" y="23866"/>
                    </a:cubicBezTo>
                    <a:lnTo>
                      <a:pt x="98057" y="85701"/>
                    </a:lnTo>
                    <a:lnTo>
                      <a:pt x="72744" y="85701"/>
                    </a:lnTo>
                    <a:lnTo>
                      <a:pt x="72744" y="23505"/>
                    </a:lnTo>
                    <a:close/>
                    <a:moveTo>
                      <a:pt x="61896" y="26759"/>
                    </a:moveTo>
                    <a:lnTo>
                      <a:pt x="61896" y="85701"/>
                    </a:lnTo>
                    <a:lnTo>
                      <a:pt x="17057" y="85701"/>
                    </a:lnTo>
                    <a:cubicBezTo>
                      <a:pt x="19226" y="58942"/>
                      <a:pt x="36945" y="35799"/>
                      <a:pt x="61896" y="26759"/>
                    </a:cubicBezTo>
                    <a:close/>
                    <a:moveTo>
                      <a:pt x="11633" y="96549"/>
                    </a:moveTo>
                    <a:cubicBezTo>
                      <a:pt x="11994" y="96549"/>
                      <a:pt x="12356" y="96549"/>
                      <a:pt x="12717" y="96549"/>
                    </a:cubicBezTo>
                    <a:lnTo>
                      <a:pt x="160977" y="96549"/>
                    </a:lnTo>
                    <a:cubicBezTo>
                      <a:pt x="161338" y="96549"/>
                      <a:pt x="161700" y="96549"/>
                      <a:pt x="162061" y="96549"/>
                    </a:cubicBezTo>
                    <a:cubicBezTo>
                      <a:pt x="162785" y="97634"/>
                      <a:pt x="163508" y="99081"/>
                      <a:pt x="163508" y="101612"/>
                    </a:cubicBezTo>
                    <a:cubicBezTo>
                      <a:pt x="163508" y="105590"/>
                      <a:pt x="161700" y="107398"/>
                      <a:pt x="160977" y="107398"/>
                    </a:cubicBezTo>
                    <a:lnTo>
                      <a:pt x="12717" y="107398"/>
                    </a:lnTo>
                    <a:cubicBezTo>
                      <a:pt x="11994" y="107398"/>
                      <a:pt x="10186" y="105228"/>
                      <a:pt x="10186" y="101612"/>
                    </a:cubicBezTo>
                    <a:cubicBezTo>
                      <a:pt x="10186" y="99081"/>
                      <a:pt x="10909" y="97273"/>
                      <a:pt x="11633" y="96549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Рисунок 88">
                <a:extLst>
                  <a:ext uri="{FF2B5EF4-FFF2-40B4-BE49-F238E27FC236}">
                    <a16:creationId xmlns:a16="http://schemas.microsoft.com/office/drawing/2014/main" xmlns="" id="{0ECA19B6-F875-41BE-9066-F07595E84EA5}"/>
                  </a:ext>
                </a:extLst>
              </p:cNvPr>
              <p:cNvSpPr/>
              <p:nvPr/>
            </p:nvSpPr>
            <p:spPr>
              <a:xfrm>
                <a:off x="4713701" y="5316166"/>
                <a:ext cx="176402" cy="149680"/>
              </a:xfrm>
              <a:custGeom>
                <a:avLst/>
                <a:gdLst>
                  <a:gd name="connsiteX0" fmla="*/ 171751 w 176402"/>
                  <a:gd name="connsiteY0" fmla="*/ 48792 h 149680"/>
                  <a:gd name="connsiteX1" fmla="*/ 171751 w 176402"/>
                  <a:gd name="connsiteY1" fmla="*/ 48792 h 149680"/>
                  <a:gd name="connsiteX2" fmla="*/ 159818 w 176402"/>
                  <a:gd name="connsiteY2" fmla="*/ 49154 h 149680"/>
                  <a:gd name="connsiteX3" fmla="*/ 144269 w 176402"/>
                  <a:gd name="connsiteY3" fmla="*/ 60363 h 149680"/>
                  <a:gd name="connsiteX4" fmla="*/ 123295 w 176402"/>
                  <a:gd name="connsiteY4" fmla="*/ 53131 h 149680"/>
                  <a:gd name="connsiteX5" fmla="*/ 122934 w 176402"/>
                  <a:gd name="connsiteY5" fmla="*/ 30712 h 149680"/>
                  <a:gd name="connsiteX6" fmla="*/ 138483 w 176402"/>
                  <a:gd name="connsiteY6" fmla="*/ 19502 h 149680"/>
                  <a:gd name="connsiteX7" fmla="*/ 142461 w 176402"/>
                  <a:gd name="connsiteY7" fmla="*/ 8292 h 149680"/>
                  <a:gd name="connsiteX8" fmla="*/ 133420 w 176402"/>
                  <a:gd name="connsiteY8" fmla="*/ 336 h 149680"/>
                  <a:gd name="connsiteX9" fmla="*/ 98706 w 176402"/>
                  <a:gd name="connsiteY9" fmla="*/ 9377 h 149680"/>
                  <a:gd name="connsiteX10" fmla="*/ 78456 w 176402"/>
                  <a:gd name="connsiteY10" fmla="*/ 55301 h 149680"/>
                  <a:gd name="connsiteX11" fmla="*/ 10474 w 176402"/>
                  <a:gd name="connsiteY11" fmla="*/ 104118 h 149680"/>
                  <a:gd name="connsiteX12" fmla="*/ 349 w 176402"/>
                  <a:gd name="connsiteY12" fmla="*/ 120390 h 149680"/>
                  <a:gd name="connsiteX13" fmla="*/ 4688 w 176402"/>
                  <a:gd name="connsiteY13" fmla="*/ 139194 h 149680"/>
                  <a:gd name="connsiteX14" fmla="*/ 20960 w 176402"/>
                  <a:gd name="connsiteY14" fmla="*/ 149319 h 149680"/>
                  <a:gd name="connsiteX15" fmla="*/ 24938 w 176402"/>
                  <a:gd name="connsiteY15" fmla="*/ 149681 h 149680"/>
                  <a:gd name="connsiteX16" fmla="*/ 39764 w 176402"/>
                  <a:gd name="connsiteY16" fmla="*/ 144980 h 149680"/>
                  <a:gd name="connsiteX17" fmla="*/ 107746 w 176402"/>
                  <a:gd name="connsiteY17" fmla="*/ 95801 h 149680"/>
                  <a:gd name="connsiteX18" fmla="*/ 156563 w 176402"/>
                  <a:gd name="connsiteY18" fmla="*/ 90377 h 149680"/>
                  <a:gd name="connsiteX19" fmla="*/ 176090 w 176402"/>
                  <a:gd name="connsiteY19" fmla="*/ 60363 h 149680"/>
                  <a:gd name="connsiteX20" fmla="*/ 171751 w 176402"/>
                  <a:gd name="connsiteY20" fmla="*/ 48792 h 149680"/>
                  <a:gd name="connsiteX21" fmla="*/ 150416 w 176402"/>
                  <a:gd name="connsiteY21" fmla="*/ 81337 h 149680"/>
                  <a:gd name="connsiteX22" fmla="*/ 109554 w 176402"/>
                  <a:gd name="connsiteY22" fmla="*/ 84230 h 149680"/>
                  <a:gd name="connsiteX23" fmla="*/ 103769 w 176402"/>
                  <a:gd name="connsiteY23" fmla="*/ 84591 h 149680"/>
                  <a:gd name="connsiteX24" fmla="*/ 33617 w 176402"/>
                  <a:gd name="connsiteY24" fmla="*/ 135939 h 149680"/>
                  <a:gd name="connsiteX25" fmla="*/ 23130 w 176402"/>
                  <a:gd name="connsiteY25" fmla="*/ 138471 h 149680"/>
                  <a:gd name="connsiteX26" fmla="*/ 13728 w 176402"/>
                  <a:gd name="connsiteY26" fmla="*/ 132685 h 149680"/>
                  <a:gd name="connsiteX27" fmla="*/ 11197 w 176402"/>
                  <a:gd name="connsiteY27" fmla="*/ 122198 h 149680"/>
                  <a:gd name="connsiteX28" fmla="*/ 16983 w 176402"/>
                  <a:gd name="connsiteY28" fmla="*/ 112797 h 149680"/>
                  <a:gd name="connsiteX29" fmla="*/ 87135 w 176402"/>
                  <a:gd name="connsiteY29" fmla="*/ 62171 h 149680"/>
                  <a:gd name="connsiteX30" fmla="*/ 89304 w 176402"/>
                  <a:gd name="connsiteY30" fmla="*/ 56747 h 149680"/>
                  <a:gd name="connsiteX31" fmla="*/ 104853 w 176402"/>
                  <a:gd name="connsiteY31" fmla="*/ 18055 h 149680"/>
                  <a:gd name="connsiteX32" fmla="*/ 128358 w 176402"/>
                  <a:gd name="connsiteY32" fmla="*/ 10461 h 149680"/>
                  <a:gd name="connsiteX33" fmla="*/ 131974 w 176402"/>
                  <a:gd name="connsiteY33" fmla="*/ 10461 h 149680"/>
                  <a:gd name="connsiteX34" fmla="*/ 113894 w 176402"/>
                  <a:gd name="connsiteY34" fmla="*/ 23479 h 149680"/>
                  <a:gd name="connsiteX35" fmla="*/ 111724 w 176402"/>
                  <a:gd name="connsiteY35" fmla="*/ 27819 h 149680"/>
                  <a:gd name="connsiteX36" fmla="*/ 112086 w 176402"/>
                  <a:gd name="connsiteY36" fmla="*/ 56747 h 149680"/>
                  <a:gd name="connsiteX37" fmla="*/ 115702 w 176402"/>
                  <a:gd name="connsiteY37" fmla="*/ 61810 h 149680"/>
                  <a:gd name="connsiteX38" fmla="*/ 143184 w 176402"/>
                  <a:gd name="connsiteY38" fmla="*/ 71212 h 149680"/>
                  <a:gd name="connsiteX39" fmla="*/ 148246 w 176402"/>
                  <a:gd name="connsiteY39" fmla="*/ 70488 h 149680"/>
                  <a:gd name="connsiteX40" fmla="*/ 165965 w 176402"/>
                  <a:gd name="connsiteY40" fmla="*/ 57832 h 149680"/>
                  <a:gd name="connsiteX41" fmla="*/ 150416 w 176402"/>
                  <a:gd name="connsiteY41" fmla="*/ 81337 h 1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76402" h="149680">
                    <a:moveTo>
                      <a:pt x="171751" y="48792"/>
                    </a:moveTo>
                    <a:cubicBezTo>
                      <a:pt x="171751" y="48792"/>
                      <a:pt x="171751" y="48792"/>
                      <a:pt x="171751" y="48792"/>
                    </a:cubicBezTo>
                    <a:cubicBezTo>
                      <a:pt x="168135" y="46261"/>
                      <a:pt x="163072" y="46622"/>
                      <a:pt x="159818" y="49154"/>
                    </a:cubicBezTo>
                    <a:lnTo>
                      <a:pt x="144269" y="60363"/>
                    </a:lnTo>
                    <a:lnTo>
                      <a:pt x="123295" y="53131"/>
                    </a:lnTo>
                    <a:lnTo>
                      <a:pt x="122934" y="30712"/>
                    </a:lnTo>
                    <a:lnTo>
                      <a:pt x="138483" y="19502"/>
                    </a:lnTo>
                    <a:cubicBezTo>
                      <a:pt x="142099" y="16970"/>
                      <a:pt x="143545" y="12270"/>
                      <a:pt x="142461" y="8292"/>
                    </a:cubicBezTo>
                    <a:cubicBezTo>
                      <a:pt x="141376" y="3953"/>
                      <a:pt x="137760" y="698"/>
                      <a:pt x="133420" y="336"/>
                    </a:cubicBezTo>
                    <a:cubicBezTo>
                      <a:pt x="121126" y="-1110"/>
                      <a:pt x="108831" y="2145"/>
                      <a:pt x="98706" y="9377"/>
                    </a:cubicBezTo>
                    <a:cubicBezTo>
                      <a:pt x="84242" y="19863"/>
                      <a:pt x="76648" y="37582"/>
                      <a:pt x="78456" y="55301"/>
                    </a:cubicBezTo>
                    <a:lnTo>
                      <a:pt x="10474" y="104118"/>
                    </a:lnTo>
                    <a:cubicBezTo>
                      <a:pt x="5050" y="108096"/>
                      <a:pt x="1434" y="113881"/>
                      <a:pt x="349" y="120390"/>
                    </a:cubicBezTo>
                    <a:cubicBezTo>
                      <a:pt x="-736" y="126899"/>
                      <a:pt x="710" y="133770"/>
                      <a:pt x="4688" y="139194"/>
                    </a:cubicBezTo>
                    <a:cubicBezTo>
                      <a:pt x="8666" y="144618"/>
                      <a:pt x="14451" y="148234"/>
                      <a:pt x="20960" y="149319"/>
                    </a:cubicBezTo>
                    <a:cubicBezTo>
                      <a:pt x="22407" y="149681"/>
                      <a:pt x="23492" y="149681"/>
                      <a:pt x="24938" y="149681"/>
                    </a:cubicBezTo>
                    <a:cubicBezTo>
                      <a:pt x="30001" y="149681"/>
                      <a:pt x="35425" y="147873"/>
                      <a:pt x="39764" y="144980"/>
                    </a:cubicBezTo>
                    <a:lnTo>
                      <a:pt x="107746" y="95801"/>
                    </a:lnTo>
                    <a:cubicBezTo>
                      <a:pt x="124019" y="102672"/>
                      <a:pt x="142461" y="100863"/>
                      <a:pt x="156563" y="90377"/>
                    </a:cubicBezTo>
                    <a:cubicBezTo>
                      <a:pt x="166688" y="83145"/>
                      <a:pt x="173559" y="72296"/>
                      <a:pt x="176090" y="60363"/>
                    </a:cubicBezTo>
                    <a:cubicBezTo>
                      <a:pt x="177175" y="55662"/>
                      <a:pt x="175367" y="51323"/>
                      <a:pt x="171751" y="48792"/>
                    </a:cubicBezTo>
                    <a:close/>
                    <a:moveTo>
                      <a:pt x="150416" y="81337"/>
                    </a:moveTo>
                    <a:cubicBezTo>
                      <a:pt x="138483" y="90015"/>
                      <a:pt x="122934" y="91100"/>
                      <a:pt x="109554" y="84230"/>
                    </a:cubicBezTo>
                    <a:cubicBezTo>
                      <a:pt x="107746" y="83145"/>
                      <a:pt x="105577" y="83506"/>
                      <a:pt x="103769" y="84591"/>
                    </a:cubicBezTo>
                    <a:lnTo>
                      <a:pt x="33617" y="135939"/>
                    </a:lnTo>
                    <a:cubicBezTo>
                      <a:pt x="30724" y="138109"/>
                      <a:pt x="26746" y="139194"/>
                      <a:pt x="23130" y="138471"/>
                    </a:cubicBezTo>
                    <a:cubicBezTo>
                      <a:pt x="19514" y="137748"/>
                      <a:pt x="15898" y="135939"/>
                      <a:pt x="13728" y="132685"/>
                    </a:cubicBezTo>
                    <a:cubicBezTo>
                      <a:pt x="11559" y="129431"/>
                      <a:pt x="10474" y="125814"/>
                      <a:pt x="11197" y="122198"/>
                    </a:cubicBezTo>
                    <a:cubicBezTo>
                      <a:pt x="11920" y="118582"/>
                      <a:pt x="13728" y="115328"/>
                      <a:pt x="16983" y="112797"/>
                    </a:cubicBezTo>
                    <a:lnTo>
                      <a:pt x="87135" y="62171"/>
                    </a:lnTo>
                    <a:cubicBezTo>
                      <a:pt x="88943" y="61087"/>
                      <a:pt x="89666" y="58917"/>
                      <a:pt x="89304" y="56747"/>
                    </a:cubicBezTo>
                    <a:cubicBezTo>
                      <a:pt x="86773" y="41921"/>
                      <a:pt x="92559" y="27095"/>
                      <a:pt x="104853" y="18055"/>
                    </a:cubicBezTo>
                    <a:cubicBezTo>
                      <a:pt x="111724" y="12993"/>
                      <a:pt x="120041" y="10461"/>
                      <a:pt x="128358" y="10461"/>
                    </a:cubicBezTo>
                    <a:cubicBezTo>
                      <a:pt x="129443" y="10461"/>
                      <a:pt x="130889" y="10461"/>
                      <a:pt x="131974" y="10461"/>
                    </a:cubicBezTo>
                    <a:lnTo>
                      <a:pt x="113894" y="23479"/>
                    </a:lnTo>
                    <a:cubicBezTo>
                      <a:pt x="112447" y="24564"/>
                      <a:pt x="111724" y="26011"/>
                      <a:pt x="111724" y="27819"/>
                    </a:cubicBezTo>
                    <a:lnTo>
                      <a:pt x="112086" y="56747"/>
                    </a:lnTo>
                    <a:cubicBezTo>
                      <a:pt x="112086" y="58917"/>
                      <a:pt x="113532" y="61087"/>
                      <a:pt x="115702" y="61810"/>
                    </a:cubicBezTo>
                    <a:lnTo>
                      <a:pt x="143184" y="71212"/>
                    </a:lnTo>
                    <a:cubicBezTo>
                      <a:pt x="144992" y="71935"/>
                      <a:pt x="146800" y="71573"/>
                      <a:pt x="148246" y="70488"/>
                    </a:cubicBezTo>
                    <a:lnTo>
                      <a:pt x="165965" y="57832"/>
                    </a:lnTo>
                    <a:cubicBezTo>
                      <a:pt x="163796" y="67596"/>
                      <a:pt x="158371" y="75913"/>
                      <a:pt x="150416" y="813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7" name="Группа 266">
            <a:extLst>
              <a:ext uri="{FF2B5EF4-FFF2-40B4-BE49-F238E27FC236}">
                <a16:creationId xmlns:a16="http://schemas.microsoft.com/office/drawing/2014/main" xmlns="" id="{A8069EEB-536F-44B8-91EB-AAEA6643D420}"/>
              </a:ext>
            </a:extLst>
          </p:cNvPr>
          <p:cNvGrpSpPr/>
          <p:nvPr/>
        </p:nvGrpSpPr>
        <p:grpSpPr>
          <a:xfrm>
            <a:off x="5101803" y="3489676"/>
            <a:ext cx="550305" cy="550305"/>
            <a:chOff x="2640229" y="5016400"/>
            <a:chExt cx="550305" cy="550305"/>
          </a:xfrm>
        </p:grpSpPr>
        <p:sp>
          <p:nvSpPr>
            <p:cNvPr id="268" name="Овал 267">
              <a:extLst>
                <a:ext uri="{FF2B5EF4-FFF2-40B4-BE49-F238E27FC236}">
                  <a16:creationId xmlns:a16="http://schemas.microsoft.com/office/drawing/2014/main" xmlns="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69" name="Рисунок 86">
              <a:extLst>
                <a:ext uri="{FF2B5EF4-FFF2-40B4-BE49-F238E27FC236}">
                  <a16:creationId xmlns:a16="http://schemas.microsoft.com/office/drawing/2014/main" xmlns="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270" name="Рисунок 86">
                <a:extLst>
                  <a:ext uri="{FF2B5EF4-FFF2-40B4-BE49-F238E27FC236}">
                    <a16:creationId xmlns:a16="http://schemas.microsoft.com/office/drawing/2014/main" xmlns="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Рисунок 86">
                <a:extLst>
                  <a:ext uri="{FF2B5EF4-FFF2-40B4-BE49-F238E27FC236}">
                    <a16:creationId xmlns:a16="http://schemas.microsoft.com/office/drawing/2014/main" xmlns="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Рисунок 86">
                <a:extLst>
                  <a:ext uri="{FF2B5EF4-FFF2-40B4-BE49-F238E27FC236}">
                    <a16:creationId xmlns:a16="http://schemas.microsoft.com/office/drawing/2014/main" xmlns="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73" name="Группа 272">
            <a:extLst>
              <a:ext uri="{FF2B5EF4-FFF2-40B4-BE49-F238E27FC236}">
                <a16:creationId xmlns:a16="http://schemas.microsoft.com/office/drawing/2014/main" xmlns="" id="{A8069EEB-536F-44B8-91EB-AAEA6643D420}"/>
              </a:ext>
            </a:extLst>
          </p:cNvPr>
          <p:cNvGrpSpPr/>
          <p:nvPr/>
        </p:nvGrpSpPr>
        <p:grpSpPr>
          <a:xfrm>
            <a:off x="6167166" y="3499068"/>
            <a:ext cx="550305" cy="550305"/>
            <a:chOff x="2640229" y="5016400"/>
            <a:chExt cx="550305" cy="550305"/>
          </a:xfrm>
        </p:grpSpPr>
        <p:sp>
          <p:nvSpPr>
            <p:cNvPr id="274" name="Овал 273">
              <a:extLst>
                <a:ext uri="{FF2B5EF4-FFF2-40B4-BE49-F238E27FC236}">
                  <a16:creationId xmlns:a16="http://schemas.microsoft.com/office/drawing/2014/main" xmlns="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75" name="Рисунок 86">
              <a:extLst>
                <a:ext uri="{FF2B5EF4-FFF2-40B4-BE49-F238E27FC236}">
                  <a16:creationId xmlns:a16="http://schemas.microsoft.com/office/drawing/2014/main" xmlns="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276" name="Рисунок 86">
                <a:extLst>
                  <a:ext uri="{FF2B5EF4-FFF2-40B4-BE49-F238E27FC236}">
                    <a16:creationId xmlns:a16="http://schemas.microsoft.com/office/drawing/2014/main" xmlns="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Рисунок 86">
                <a:extLst>
                  <a:ext uri="{FF2B5EF4-FFF2-40B4-BE49-F238E27FC236}">
                    <a16:creationId xmlns:a16="http://schemas.microsoft.com/office/drawing/2014/main" xmlns="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8" name="Рисунок 86">
                <a:extLst>
                  <a:ext uri="{FF2B5EF4-FFF2-40B4-BE49-F238E27FC236}">
                    <a16:creationId xmlns:a16="http://schemas.microsoft.com/office/drawing/2014/main" xmlns="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84" name="Группа 283">
            <a:extLst>
              <a:ext uri="{FF2B5EF4-FFF2-40B4-BE49-F238E27FC236}">
                <a16:creationId xmlns:a16="http://schemas.microsoft.com/office/drawing/2014/main" xmlns="" id="{BEA45C90-0503-46F3-926E-567ADBC4DF11}"/>
              </a:ext>
            </a:extLst>
          </p:cNvPr>
          <p:cNvGrpSpPr/>
          <p:nvPr/>
        </p:nvGrpSpPr>
        <p:grpSpPr>
          <a:xfrm>
            <a:off x="8221008" y="3405579"/>
            <a:ext cx="750899" cy="732181"/>
            <a:chOff x="7195664" y="3942146"/>
            <a:chExt cx="550305" cy="550305"/>
          </a:xfrm>
        </p:grpSpPr>
        <p:sp>
          <p:nvSpPr>
            <p:cNvPr id="285" name="Овал 284">
              <a:extLst>
                <a:ext uri="{FF2B5EF4-FFF2-40B4-BE49-F238E27FC236}">
                  <a16:creationId xmlns:a16="http://schemas.microsoft.com/office/drawing/2014/main" xmlns="" id="{76EC2A03-84A7-4CC8-ABA9-01AD87B6EBA1}"/>
                </a:ext>
              </a:extLst>
            </p:cNvPr>
            <p:cNvSpPr/>
            <p:nvPr/>
          </p:nvSpPr>
          <p:spPr>
            <a:xfrm>
              <a:off x="7195664" y="39421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86" name="Рисунок 79">
              <a:extLst>
                <a:ext uri="{FF2B5EF4-FFF2-40B4-BE49-F238E27FC236}">
                  <a16:creationId xmlns:a16="http://schemas.microsoft.com/office/drawing/2014/main" xmlns="" id="{49DC42F3-CBDF-4795-A096-4F2F310A3396}"/>
                </a:ext>
              </a:extLst>
            </p:cNvPr>
            <p:cNvGrpSpPr/>
            <p:nvPr/>
          </p:nvGrpSpPr>
          <p:grpSpPr>
            <a:xfrm>
              <a:off x="7345511" y="4057673"/>
              <a:ext cx="247318" cy="323252"/>
              <a:chOff x="7345511" y="4057673"/>
              <a:chExt cx="247318" cy="323252"/>
            </a:xfrm>
            <a:solidFill>
              <a:srgbClr val="000000"/>
            </a:solidFill>
          </p:grpSpPr>
          <p:sp>
            <p:nvSpPr>
              <p:cNvPr id="287" name="Рисунок 79">
                <a:extLst>
                  <a:ext uri="{FF2B5EF4-FFF2-40B4-BE49-F238E27FC236}">
                    <a16:creationId xmlns:a16="http://schemas.microsoft.com/office/drawing/2014/main" xmlns="" id="{C6995F71-02D1-4D15-B6E6-65BE8E7E4EE1}"/>
                  </a:ext>
                </a:extLst>
              </p:cNvPr>
              <p:cNvSpPr/>
              <p:nvPr/>
            </p:nvSpPr>
            <p:spPr>
              <a:xfrm>
                <a:off x="7364520" y="4057673"/>
                <a:ext cx="220521" cy="182615"/>
              </a:xfrm>
              <a:custGeom>
                <a:avLst/>
                <a:gdLst>
                  <a:gd name="connsiteX0" fmla="*/ 3222 w 220521"/>
                  <a:gd name="connsiteY0" fmla="*/ 53789 h 182615"/>
                  <a:gd name="connsiteX1" fmla="*/ 43411 w 220521"/>
                  <a:gd name="connsiteY1" fmla="*/ 71653 h 182615"/>
                  <a:gd name="connsiteX2" fmla="*/ 31308 w 220521"/>
                  <a:gd name="connsiteY2" fmla="*/ 111339 h 182615"/>
                  <a:gd name="connsiteX3" fmla="*/ 102581 w 220521"/>
                  <a:gd name="connsiteY3" fmla="*/ 182616 h 182615"/>
                  <a:gd name="connsiteX4" fmla="*/ 173858 w 220521"/>
                  <a:gd name="connsiteY4" fmla="*/ 111339 h 182615"/>
                  <a:gd name="connsiteX5" fmla="*/ 161986 w 220521"/>
                  <a:gd name="connsiteY5" fmla="*/ 72007 h 182615"/>
                  <a:gd name="connsiteX6" fmla="*/ 199760 w 220521"/>
                  <a:gd name="connsiteY6" fmla="*/ 55221 h 182615"/>
                  <a:gd name="connsiteX7" fmla="*/ 199760 w 220521"/>
                  <a:gd name="connsiteY7" fmla="*/ 122849 h 182615"/>
                  <a:gd name="connsiteX8" fmla="*/ 189624 w 220521"/>
                  <a:gd name="connsiteY8" fmla="*/ 145667 h 182615"/>
                  <a:gd name="connsiteX9" fmla="*/ 190032 w 220521"/>
                  <a:gd name="connsiteY9" fmla="*/ 150827 h 182615"/>
                  <a:gd name="connsiteX10" fmla="*/ 194581 w 220521"/>
                  <a:gd name="connsiteY10" fmla="*/ 153296 h 182615"/>
                  <a:gd name="connsiteX11" fmla="*/ 215099 w 220521"/>
                  <a:gd name="connsiteY11" fmla="*/ 153296 h 182615"/>
                  <a:gd name="connsiteX12" fmla="*/ 219612 w 220521"/>
                  <a:gd name="connsiteY12" fmla="*/ 150885 h 182615"/>
                  <a:gd name="connsiteX13" fmla="*/ 220111 w 220521"/>
                  <a:gd name="connsiteY13" fmla="*/ 145793 h 182615"/>
                  <a:gd name="connsiteX14" fmla="*/ 210611 w 220521"/>
                  <a:gd name="connsiteY14" fmla="*/ 122925 h 182615"/>
                  <a:gd name="connsiteX15" fmla="*/ 210611 w 220521"/>
                  <a:gd name="connsiteY15" fmla="*/ 50238 h 182615"/>
                  <a:gd name="connsiteX16" fmla="*/ 205187 w 220521"/>
                  <a:gd name="connsiteY16" fmla="*/ 44814 h 182615"/>
                  <a:gd name="connsiteX17" fmla="*/ 204460 w 220521"/>
                  <a:gd name="connsiteY17" fmla="*/ 44886 h 182615"/>
                  <a:gd name="connsiteX18" fmla="*/ 202985 w 220521"/>
                  <a:gd name="connsiteY18" fmla="*/ 43878 h 182615"/>
                  <a:gd name="connsiteX19" fmla="*/ 105300 w 220521"/>
                  <a:gd name="connsiteY19" fmla="*/ 466 h 182615"/>
                  <a:gd name="connsiteX20" fmla="*/ 100892 w 220521"/>
                  <a:gd name="connsiteY20" fmla="*/ 466 h 182615"/>
                  <a:gd name="connsiteX21" fmla="*/ 3222 w 220521"/>
                  <a:gd name="connsiteY21" fmla="*/ 43878 h 182615"/>
                  <a:gd name="connsiteX22" fmla="*/ 0 w 220521"/>
                  <a:gd name="connsiteY22" fmla="*/ 48835 h 182615"/>
                  <a:gd name="connsiteX23" fmla="*/ 3222 w 220521"/>
                  <a:gd name="connsiteY23" fmla="*/ 53789 h 182615"/>
                  <a:gd name="connsiteX24" fmla="*/ 163013 w 220521"/>
                  <a:gd name="connsiteY24" fmla="*/ 110052 h 182615"/>
                  <a:gd name="connsiteX25" fmla="*/ 102585 w 220521"/>
                  <a:gd name="connsiteY25" fmla="*/ 170480 h 182615"/>
                  <a:gd name="connsiteX26" fmla="*/ 42160 w 220521"/>
                  <a:gd name="connsiteY26" fmla="*/ 110052 h 182615"/>
                  <a:gd name="connsiteX27" fmla="*/ 53518 w 220521"/>
                  <a:gd name="connsiteY27" fmla="*/ 74856 h 182615"/>
                  <a:gd name="connsiteX28" fmla="*/ 100896 w 220521"/>
                  <a:gd name="connsiteY28" fmla="*/ 95913 h 182615"/>
                  <a:gd name="connsiteX29" fmla="*/ 103098 w 220521"/>
                  <a:gd name="connsiteY29" fmla="*/ 96379 h 182615"/>
                  <a:gd name="connsiteX30" fmla="*/ 105300 w 220521"/>
                  <a:gd name="connsiteY30" fmla="*/ 95913 h 182615"/>
                  <a:gd name="connsiteX31" fmla="*/ 151904 w 220521"/>
                  <a:gd name="connsiteY31" fmla="*/ 75204 h 182615"/>
                  <a:gd name="connsiteX32" fmla="*/ 163013 w 220521"/>
                  <a:gd name="connsiteY32" fmla="*/ 110052 h 182615"/>
                  <a:gd name="connsiteX33" fmla="*/ 202927 w 220521"/>
                  <a:gd name="connsiteY33" fmla="*/ 142448 h 182615"/>
                  <a:gd name="connsiteX34" fmla="*/ 205021 w 220521"/>
                  <a:gd name="connsiteY34" fmla="*/ 137740 h 182615"/>
                  <a:gd name="connsiteX35" fmla="*/ 206977 w 220521"/>
                  <a:gd name="connsiteY35" fmla="*/ 142448 h 182615"/>
                  <a:gd name="connsiteX36" fmla="*/ 202927 w 220521"/>
                  <a:gd name="connsiteY36" fmla="*/ 142448 h 182615"/>
                  <a:gd name="connsiteX37" fmla="*/ 103098 w 220521"/>
                  <a:gd name="connsiteY37" fmla="*/ 10071 h 182615"/>
                  <a:gd name="connsiteX38" fmla="*/ 187425 w 220521"/>
                  <a:gd name="connsiteY38" fmla="*/ 47544 h 182615"/>
                  <a:gd name="connsiteX39" fmla="*/ 103098 w 220521"/>
                  <a:gd name="connsiteY39" fmla="*/ 85018 h 182615"/>
                  <a:gd name="connsiteX40" fmla="*/ 18786 w 220521"/>
                  <a:gd name="connsiteY40" fmla="*/ 47544 h 182615"/>
                  <a:gd name="connsiteX41" fmla="*/ 103098 w 220521"/>
                  <a:gd name="connsiteY41" fmla="*/ 10071 h 18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20521" h="182615">
                    <a:moveTo>
                      <a:pt x="3222" y="53789"/>
                    </a:moveTo>
                    <a:lnTo>
                      <a:pt x="43411" y="71653"/>
                    </a:lnTo>
                    <a:cubicBezTo>
                      <a:pt x="35582" y="83333"/>
                      <a:pt x="31308" y="97182"/>
                      <a:pt x="31308" y="111339"/>
                    </a:cubicBezTo>
                    <a:cubicBezTo>
                      <a:pt x="31308" y="150639"/>
                      <a:pt x="63281" y="182616"/>
                      <a:pt x="102581" y="182616"/>
                    </a:cubicBezTo>
                    <a:cubicBezTo>
                      <a:pt x="141884" y="182616"/>
                      <a:pt x="173858" y="150639"/>
                      <a:pt x="173858" y="111339"/>
                    </a:cubicBezTo>
                    <a:cubicBezTo>
                      <a:pt x="173858" y="97330"/>
                      <a:pt x="169663" y="83611"/>
                      <a:pt x="161986" y="72007"/>
                    </a:cubicBezTo>
                    <a:lnTo>
                      <a:pt x="199760" y="55221"/>
                    </a:lnTo>
                    <a:lnTo>
                      <a:pt x="199760" y="122849"/>
                    </a:lnTo>
                    <a:lnTo>
                      <a:pt x="189624" y="145667"/>
                    </a:lnTo>
                    <a:cubicBezTo>
                      <a:pt x="188875" y="147344"/>
                      <a:pt x="189031" y="149286"/>
                      <a:pt x="190032" y="150827"/>
                    </a:cubicBezTo>
                    <a:cubicBezTo>
                      <a:pt x="191034" y="152367"/>
                      <a:pt x="192744" y="153296"/>
                      <a:pt x="194581" y="153296"/>
                    </a:cubicBezTo>
                    <a:lnTo>
                      <a:pt x="215099" y="153296"/>
                    </a:lnTo>
                    <a:cubicBezTo>
                      <a:pt x="216911" y="153296"/>
                      <a:pt x="218607" y="152392"/>
                      <a:pt x="219612" y="150885"/>
                    </a:cubicBezTo>
                    <a:cubicBezTo>
                      <a:pt x="220613" y="149377"/>
                      <a:pt x="220801" y="147467"/>
                      <a:pt x="220111" y="145793"/>
                    </a:cubicBezTo>
                    <a:lnTo>
                      <a:pt x="210611" y="122925"/>
                    </a:lnTo>
                    <a:lnTo>
                      <a:pt x="210611" y="50238"/>
                    </a:lnTo>
                    <a:cubicBezTo>
                      <a:pt x="210611" y="47244"/>
                      <a:pt x="208181" y="44814"/>
                      <a:pt x="205187" y="44814"/>
                    </a:cubicBezTo>
                    <a:cubicBezTo>
                      <a:pt x="204938" y="44814"/>
                      <a:pt x="204703" y="44854"/>
                      <a:pt x="204460" y="44886"/>
                    </a:cubicBezTo>
                    <a:cubicBezTo>
                      <a:pt x="204026" y="44481"/>
                      <a:pt x="203546" y="44127"/>
                      <a:pt x="202985" y="43878"/>
                    </a:cubicBezTo>
                    <a:lnTo>
                      <a:pt x="105300" y="466"/>
                    </a:lnTo>
                    <a:cubicBezTo>
                      <a:pt x="103894" y="-155"/>
                      <a:pt x="102295" y="-155"/>
                      <a:pt x="100892" y="466"/>
                    </a:cubicBezTo>
                    <a:lnTo>
                      <a:pt x="3222" y="43878"/>
                    </a:lnTo>
                    <a:cubicBezTo>
                      <a:pt x="1262" y="44749"/>
                      <a:pt x="0" y="46691"/>
                      <a:pt x="0" y="48835"/>
                    </a:cubicBezTo>
                    <a:cubicBezTo>
                      <a:pt x="0" y="50979"/>
                      <a:pt x="1266" y="52918"/>
                      <a:pt x="3222" y="53789"/>
                    </a:cubicBezTo>
                    <a:close/>
                    <a:moveTo>
                      <a:pt x="163013" y="110052"/>
                    </a:moveTo>
                    <a:cubicBezTo>
                      <a:pt x="163013" y="143374"/>
                      <a:pt x="135903" y="170480"/>
                      <a:pt x="102585" y="170480"/>
                    </a:cubicBezTo>
                    <a:cubicBezTo>
                      <a:pt x="69266" y="170480"/>
                      <a:pt x="42160" y="143374"/>
                      <a:pt x="42160" y="110052"/>
                    </a:cubicBezTo>
                    <a:cubicBezTo>
                      <a:pt x="42160" y="97414"/>
                      <a:pt x="46192" y="85072"/>
                      <a:pt x="53518" y="74856"/>
                    </a:cubicBezTo>
                    <a:lnTo>
                      <a:pt x="100896" y="95913"/>
                    </a:lnTo>
                    <a:cubicBezTo>
                      <a:pt x="101597" y="96224"/>
                      <a:pt x="102350" y="96379"/>
                      <a:pt x="103098" y="96379"/>
                    </a:cubicBezTo>
                    <a:cubicBezTo>
                      <a:pt x="103847" y="96379"/>
                      <a:pt x="104599" y="96224"/>
                      <a:pt x="105300" y="95913"/>
                    </a:cubicBezTo>
                    <a:lnTo>
                      <a:pt x="151904" y="75204"/>
                    </a:lnTo>
                    <a:cubicBezTo>
                      <a:pt x="159071" y="85347"/>
                      <a:pt x="163013" y="97558"/>
                      <a:pt x="163013" y="110052"/>
                    </a:cubicBezTo>
                    <a:close/>
                    <a:moveTo>
                      <a:pt x="202927" y="142448"/>
                    </a:moveTo>
                    <a:lnTo>
                      <a:pt x="205021" y="137740"/>
                    </a:lnTo>
                    <a:lnTo>
                      <a:pt x="206977" y="142448"/>
                    </a:lnTo>
                    <a:lnTo>
                      <a:pt x="202927" y="142448"/>
                    </a:lnTo>
                    <a:close/>
                    <a:moveTo>
                      <a:pt x="103098" y="10071"/>
                    </a:moveTo>
                    <a:lnTo>
                      <a:pt x="187425" y="47544"/>
                    </a:lnTo>
                    <a:lnTo>
                      <a:pt x="103098" y="85018"/>
                    </a:lnTo>
                    <a:lnTo>
                      <a:pt x="18786" y="47544"/>
                    </a:lnTo>
                    <a:lnTo>
                      <a:pt x="103098" y="10071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8" name="Рисунок 79">
                <a:extLst>
                  <a:ext uri="{FF2B5EF4-FFF2-40B4-BE49-F238E27FC236}">
                    <a16:creationId xmlns:a16="http://schemas.microsoft.com/office/drawing/2014/main" xmlns="" id="{E49F4816-D59C-41BC-93BF-2AE240D83F17}"/>
                  </a:ext>
                </a:extLst>
              </p:cNvPr>
              <p:cNvSpPr/>
              <p:nvPr/>
            </p:nvSpPr>
            <p:spPr>
              <a:xfrm>
                <a:off x="7345511" y="4251838"/>
                <a:ext cx="247318" cy="129086"/>
              </a:xfrm>
              <a:custGeom>
                <a:avLst/>
                <a:gdLst>
                  <a:gd name="connsiteX0" fmla="*/ 123663 w 247318"/>
                  <a:gd name="connsiteY0" fmla="*/ 0 h 129086"/>
                  <a:gd name="connsiteX1" fmla="*/ 0 w 247318"/>
                  <a:gd name="connsiteY1" fmla="*/ 123558 h 129086"/>
                  <a:gd name="connsiteX2" fmla="*/ 5424 w 247318"/>
                  <a:gd name="connsiteY2" fmla="*/ 129087 h 129086"/>
                  <a:gd name="connsiteX3" fmla="*/ 241894 w 247318"/>
                  <a:gd name="connsiteY3" fmla="*/ 129087 h 129086"/>
                  <a:gd name="connsiteX4" fmla="*/ 247318 w 247318"/>
                  <a:gd name="connsiteY4" fmla="*/ 123558 h 129086"/>
                  <a:gd name="connsiteX5" fmla="*/ 123663 w 247318"/>
                  <a:gd name="connsiteY5" fmla="*/ 0 h 129086"/>
                  <a:gd name="connsiteX6" fmla="*/ 10978 w 247318"/>
                  <a:gd name="connsiteY6" fmla="*/ 118239 h 129086"/>
                  <a:gd name="connsiteX7" fmla="*/ 123663 w 247318"/>
                  <a:gd name="connsiteY7" fmla="*/ 10848 h 129086"/>
                  <a:gd name="connsiteX8" fmla="*/ 236343 w 247318"/>
                  <a:gd name="connsiteY8" fmla="*/ 118239 h 129086"/>
                  <a:gd name="connsiteX9" fmla="*/ 10978 w 247318"/>
                  <a:gd name="connsiteY9" fmla="*/ 118239 h 12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318" h="129086">
                    <a:moveTo>
                      <a:pt x="123663" y="0"/>
                    </a:moveTo>
                    <a:cubicBezTo>
                      <a:pt x="55510" y="0"/>
                      <a:pt x="58" y="55416"/>
                      <a:pt x="0" y="123558"/>
                    </a:cubicBezTo>
                    <a:cubicBezTo>
                      <a:pt x="-4" y="126592"/>
                      <a:pt x="2390" y="129087"/>
                      <a:pt x="5424" y="129087"/>
                    </a:cubicBezTo>
                    <a:lnTo>
                      <a:pt x="241894" y="129087"/>
                    </a:lnTo>
                    <a:cubicBezTo>
                      <a:pt x="244928" y="129087"/>
                      <a:pt x="247322" y="126595"/>
                      <a:pt x="247318" y="123558"/>
                    </a:cubicBezTo>
                    <a:cubicBezTo>
                      <a:pt x="247260" y="55416"/>
                      <a:pt x="191808" y="0"/>
                      <a:pt x="123663" y="0"/>
                    </a:cubicBezTo>
                    <a:close/>
                    <a:moveTo>
                      <a:pt x="10978" y="118239"/>
                    </a:moveTo>
                    <a:cubicBezTo>
                      <a:pt x="13821" y="58541"/>
                      <a:pt x="63274" y="10848"/>
                      <a:pt x="123663" y="10848"/>
                    </a:cubicBezTo>
                    <a:cubicBezTo>
                      <a:pt x="184048" y="10848"/>
                      <a:pt x="233501" y="58541"/>
                      <a:pt x="236343" y="118239"/>
                    </a:cubicBezTo>
                    <a:lnTo>
                      <a:pt x="10978" y="118239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89" name="Группа 288">
            <a:extLst>
              <a:ext uri="{FF2B5EF4-FFF2-40B4-BE49-F238E27FC236}">
                <a16:creationId xmlns:a16="http://schemas.microsoft.com/office/drawing/2014/main" xmlns="" id="{CCC7711B-B18E-4236-B64C-C3C518B6485C}"/>
              </a:ext>
            </a:extLst>
          </p:cNvPr>
          <p:cNvGrpSpPr/>
          <p:nvPr/>
        </p:nvGrpSpPr>
        <p:grpSpPr>
          <a:xfrm>
            <a:off x="9374909" y="3487448"/>
            <a:ext cx="550305" cy="550305"/>
            <a:chOff x="9017838" y="5016400"/>
            <a:chExt cx="550305" cy="550305"/>
          </a:xfrm>
        </p:grpSpPr>
        <p:sp>
          <p:nvSpPr>
            <p:cNvPr id="290" name="Овал 289">
              <a:extLst>
                <a:ext uri="{FF2B5EF4-FFF2-40B4-BE49-F238E27FC236}">
                  <a16:creationId xmlns:a16="http://schemas.microsoft.com/office/drawing/2014/main" xmlns="" id="{B4D66DBA-FDD3-4285-8C1C-AE57FD6DDE43}"/>
                </a:ext>
              </a:extLst>
            </p:cNvPr>
            <p:cNvSpPr/>
            <p:nvPr/>
          </p:nvSpPr>
          <p:spPr>
            <a:xfrm>
              <a:off x="9017838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91" name="Рисунок 93">
              <a:extLst>
                <a:ext uri="{FF2B5EF4-FFF2-40B4-BE49-F238E27FC236}">
                  <a16:creationId xmlns:a16="http://schemas.microsoft.com/office/drawing/2014/main" xmlns="" id="{E2CBA62D-73EC-43C3-8C14-EBFFC17C475D}"/>
                </a:ext>
              </a:extLst>
            </p:cNvPr>
            <p:cNvGrpSpPr/>
            <p:nvPr/>
          </p:nvGrpSpPr>
          <p:grpSpPr>
            <a:xfrm>
              <a:off x="9120502" y="5170774"/>
              <a:ext cx="346420" cy="243723"/>
              <a:chOff x="9120502" y="5170774"/>
              <a:chExt cx="346420" cy="243724"/>
            </a:xfrm>
            <a:solidFill>
              <a:srgbClr val="231F20"/>
            </a:solidFill>
          </p:grpSpPr>
          <p:sp>
            <p:nvSpPr>
              <p:cNvPr id="292" name="Рисунок 93">
                <a:extLst>
                  <a:ext uri="{FF2B5EF4-FFF2-40B4-BE49-F238E27FC236}">
                    <a16:creationId xmlns:a16="http://schemas.microsoft.com/office/drawing/2014/main" xmlns="" id="{8F09C4DD-803A-4512-B844-EB3F12D569C5}"/>
                  </a:ext>
                </a:extLst>
              </p:cNvPr>
              <p:cNvSpPr/>
              <p:nvPr/>
            </p:nvSpPr>
            <p:spPr>
              <a:xfrm>
                <a:off x="9227177" y="5170774"/>
                <a:ext cx="133433" cy="142111"/>
              </a:xfrm>
              <a:custGeom>
                <a:avLst/>
                <a:gdLst>
                  <a:gd name="connsiteX0" fmla="*/ 10487 w 133433"/>
                  <a:gd name="connsiteY0" fmla="*/ 91125 h 142111"/>
                  <a:gd name="connsiteX1" fmla="*/ 10848 w 133433"/>
                  <a:gd name="connsiteY1" fmla="*/ 91125 h 142111"/>
                  <a:gd name="connsiteX2" fmla="*/ 66536 w 133433"/>
                  <a:gd name="connsiteY2" fmla="*/ 142112 h 142111"/>
                  <a:gd name="connsiteX3" fmla="*/ 122224 w 133433"/>
                  <a:gd name="connsiteY3" fmla="*/ 91125 h 142111"/>
                  <a:gd name="connsiteX4" fmla="*/ 122585 w 133433"/>
                  <a:gd name="connsiteY4" fmla="*/ 91125 h 142111"/>
                  <a:gd name="connsiteX5" fmla="*/ 133433 w 133433"/>
                  <a:gd name="connsiteY5" fmla="*/ 77384 h 142111"/>
                  <a:gd name="connsiteX6" fmla="*/ 127286 w 133433"/>
                  <a:gd name="connsiteY6" fmla="*/ 65089 h 142111"/>
                  <a:gd name="connsiteX7" fmla="*/ 83531 w 133433"/>
                  <a:gd name="connsiteY7" fmla="*/ 11210 h 142111"/>
                  <a:gd name="connsiteX8" fmla="*/ 66536 w 133433"/>
                  <a:gd name="connsiteY8" fmla="*/ 0 h 142111"/>
                  <a:gd name="connsiteX9" fmla="*/ 49540 w 133433"/>
                  <a:gd name="connsiteY9" fmla="*/ 11210 h 142111"/>
                  <a:gd name="connsiteX10" fmla="*/ 6147 w 133433"/>
                  <a:gd name="connsiteY10" fmla="*/ 65089 h 142111"/>
                  <a:gd name="connsiteX11" fmla="*/ 0 w 133433"/>
                  <a:gd name="connsiteY11" fmla="*/ 77384 h 142111"/>
                  <a:gd name="connsiteX12" fmla="*/ 3254 w 133433"/>
                  <a:gd name="connsiteY12" fmla="*/ 86786 h 142111"/>
                  <a:gd name="connsiteX13" fmla="*/ 10487 w 133433"/>
                  <a:gd name="connsiteY13" fmla="*/ 91125 h 142111"/>
                  <a:gd name="connsiteX14" fmla="*/ 14826 w 133433"/>
                  <a:gd name="connsiteY14" fmla="*/ 64728 h 142111"/>
                  <a:gd name="connsiteX15" fmla="*/ 46647 w 133433"/>
                  <a:gd name="connsiteY15" fmla="*/ 22420 h 142111"/>
                  <a:gd name="connsiteX16" fmla="*/ 46647 w 133433"/>
                  <a:gd name="connsiteY16" fmla="*/ 64728 h 142111"/>
                  <a:gd name="connsiteX17" fmla="*/ 14826 w 133433"/>
                  <a:gd name="connsiteY17" fmla="*/ 64728 h 142111"/>
                  <a:gd name="connsiteX18" fmla="*/ 56772 w 133433"/>
                  <a:gd name="connsiteY18" fmla="*/ 64728 h 142111"/>
                  <a:gd name="connsiteX19" fmla="*/ 56772 w 133433"/>
                  <a:gd name="connsiteY19" fmla="*/ 18442 h 142111"/>
                  <a:gd name="connsiteX20" fmla="*/ 60389 w 133433"/>
                  <a:gd name="connsiteY20" fmla="*/ 11571 h 142111"/>
                  <a:gd name="connsiteX21" fmla="*/ 68344 w 133433"/>
                  <a:gd name="connsiteY21" fmla="*/ 10487 h 142111"/>
                  <a:gd name="connsiteX22" fmla="*/ 74130 w 133433"/>
                  <a:gd name="connsiteY22" fmla="*/ 18804 h 142111"/>
                  <a:gd name="connsiteX23" fmla="*/ 74130 w 133433"/>
                  <a:gd name="connsiteY23" fmla="*/ 64728 h 142111"/>
                  <a:gd name="connsiteX24" fmla="*/ 56772 w 133433"/>
                  <a:gd name="connsiteY24" fmla="*/ 64728 h 142111"/>
                  <a:gd name="connsiteX25" fmla="*/ 84255 w 133433"/>
                  <a:gd name="connsiteY25" fmla="*/ 64728 h 142111"/>
                  <a:gd name="connsiteX26" fmla="*/ 84255 w 133433"/>
                  <a:gd name="connsiteY26" fmla="*/ 22058 h 142111"/>
                  <a:gd name="connsiteX27" fmla="*/ 116438 w 133433"/>
                  <a:gd name="connsiteY27" fmla="*/ 64366 h 142111"/>
                  <a:gd name="connsiteX28" fmla="*/ 84255 w 133433"/>
                  <a:gd name="connsiteY28" fmla="*/ 64366 h 142111"/>
                  <a:gd name="connsiteX29" fmla="*/ 112098 w 133433"/>
                  <a:gd name="connsiteY29" fmla="*/ 91125 h 142111"/>
                  <a:gd name="connsiteX30" fmla="*/ 66536 w 133433"/>
                  <a:gd name="connsiteY30" fmla="*/ 132349 h 142111"/>
                  <a:gd name="connsiteX31" fmla="*/ 20973 w 133433"/>
                  <a:gd name="connsiteY31" fmla="*/ 91125 h 142111"/>
                  <a:gd name="connsiteX32" fmla="*/ 112098 w 133433"/>
                  <a:gd name="connsiteY32" fmla="*/ 91125 h 142111"/>
                  <a:gd name="connsiteX33" fmla="*/ 9402 w 133433"/>
                  <a:gd name="connsiteY33" fmla="*/ 77384 h 142111"/>
                  <a:gd name="connsiteX34" fmla="*/ 10125 w 133433"/>
                  <a:gd name="connsiteY34" fmla="*/ 74491 h 142111"/>
                  <a:gd name="connsiteX35" fmla="*/ 10487 w 133433"/>
                  <a:gd name="connsiteY35" fmla="*/ 74491 h 142111"/>
                  <a:gd name="connsiteX36" fmla="*/ 122585 w 133433"/>
                  <a:gd name="connsiteY36" fmla="*/ 74491 h 142111"/>
                  <a:gd name="connsiteX37" fmla="*/ 122947 w 133433"/>
                  <a:gd name="connsiteY37" fmla="*/ 74491 h 142111"/>
                  <a:gd name="connsiteX38" fmla="*/ 123670 w 133433"/>
                  <a:gd name="connsiteY38" fmla="*/ 77384 h 142111"/>
                  <a:gd name="connsiteX39" fmla="*/ 122585 w 133433"/>
                  <a:gd name="connsiteY39" fmla="*/ 81000 h 142111"/>
                  <a:gd name="connsiteX40" fmla="*/ 10487 w 133433"/>
                  <a:gd name="connsiteY40" fmla="*/ 81000 h 142111"/>
                  <a:gd name="connsiteX41" fmla="*/ 9402 w 133433"/>
                  <a:gd name="connsiteY41" fmla="*/ 77384 h 14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3433" h="142111">
                    <a:moveTo>
                      <a:pt x="10487" y="91125"/>
                    </a:moveTo>
                    <a:lnTo>
                      <a:pt x="10848" y="91125"/>
                    </a:lnTo>
                    <a:cubicBezTo>
                      <a:pt x="13379" y="119692"/>
                      <a:pt x="37607" y="142112"/>
                      <a:pt x="66536" y="142112"/>
                    </a:cubicBezTo>
                    <a:cubicBezTo>
                      <a:pt x="95465" y="142112"/>
                      <a:pt x="119692" y="119692"/>
                      <a:pt x="122224" y="91125"/>
                    </a:cubicBezTo>
                    <a:lnTo>
                      <a:pt x="122585" y="91125"/>
                    </a:lnTo>
                    <a:cubicBezTo>
                      <a:pt x="128732" y="91125"/>
                      <a:pt x="133433" y="84978"/>
                      <a:pt x="133433" y="77384"/>
                    </a:cubicBezTo>
                    <a:cubicBezTo>
                      <a:pt x="133433" y="71960"/>
                      <a:pt x="130902" y="67259"/>
                      <a:pt x="127286" y="65089"/>
                    </a:cubicBezTo>
                    <a:cubicBezTo>
                      <a:pt x="125478" y="39777"/>
                      <a:pt x="107759" y="18080"/>
                      <a:pt x="83531" y="11210"/>
                    </a:cubicBezTo>
                    <a:cubicBezTo>
                      <a:pt x="80639" y="4339"/>
                      <a:pt x="73768" y="0"/>
                      <a:pt x="66536" y="0"/>
                    </a:cubicBezTo>
                    <a:cubicBezTo>
                      <a:pt x="58942" y="0"/>
                      <a:pt x="52433" y="4339"/>
                      <a:pt x="49540" y="11210"/>
                    </a:cubicBezTo>
                    <a:cubicBezTo>
                      <a:pt x="25313" y="18442"/>
                      <a:pt x="7955" y="39777"/>
                      <a:pt x="6147" y="65089"/>
                    </a:cubicBezTo>
                    <a:cubicBezTo>
                      <a:pt x="2531" y="67259"/>
                      <a:pt x="0" y="71960"/>
                      <a:pt x="0" y="77384"/>
                    </a:cubicBezTo>
                    <a:cubicBezTo>
                      <a:pt x="0" y="81000"/>
                      <a:pt x="1085" y="84255"/>
                      <a:pt x="3254" y="86786"/>
                    </a:cubicBezTo>
                    <a:cubicBezTo>
                      <a:pt x="4701" y="89679"/>
                      <a:pt x="7594" y="91125"/>
                      <a:pt x="10487" y="91125"/>
                    </a:cubicBezTo>
                    <a:close/>
                    <a:moveTo>
                      <a:pt x="14826" y="64728"/>
                    </a:moveTo>
                    <a:cubicBezTo>
                      <a:pt x="16634" y="45924"/>
                      <a:pt x="28929" y="29290"/>
                      <a:pt x="46647" y="22420"/>
                    </a:cubicBezTo>
                    <a:lnTo>
                      <a:pt x="46647" y="64728"/>
                    </a:lnTo>
                    <a:lnTo>
                      <a:pt x="14826" y="64728"/>
                    </a:lnTo>
                    <a:close/>
                    <a:moveTo>
                      <a:pt x="56772" y="64728"/>
                    </a:moveTo>
                    <a:lnTo>
                      <a:pt x="56772" y="18442"/>
                    </a:lnTo>
                    <a:cubicBezTo>
                      <a:pt x="56772" y="15549"/>
                      <a:pt x="58219" y="13018"/>
                      <a:pt x="60389" y="11571"/>
                    </a:cubicBezTo>
                    <a:cubicBezTo>
                      <a:pt x="62558" y="9763"/>
                      <a:pt x="65451" y="9402"/>
                      <a:pt x="68344" y="10487"/>
                    </a:cubicBezTo>
                    <a:cubicBezTo>
                      <a:pt x="71598" y="11571"/>
                      <a:pt x="74130" y="15188"/>
                      <a:pt x="74130" y="18804"/>
                    </a:cubicBezTo>
                    <a:lnTo>
                      <a:pt x="74130" y="64728"/>
                    </a:lnTo>
                    <a:lnTo>
                      <a:pt x="56772" y="64728"/>
                    </a:lnTo>
                    <a:close/>
                    <a:moveTo>
                      <a:pt x="84255" y="64728"/>
                    </a:moveTo>
                    <a:lnTo>
                      <a:pt x="84255" y="22058"/>
                    </a:lnTo>
                    <a:cubicBezTo>
                      <a:pt x="101973" y="28929"/>
                      <a:pt x="114630" y="45563"/>
                      <a:pt x="116438" y="64366"/>
                    </a:cubicBezTo>
                    <a:lnTo>
                      <a:pt x="84255" y="64366"/>
                    </a:lnTo>
                    <a:close/>
                    <a:moveTo>
                      <a:pt x="112098" y="91125"/>
                    </a:moveTo>
                    <a:cubicBezTo>
                      <a:pt x="109567" y="114268"/>
                      <a:pt x="89679" y="132349"/>
                      <a:pt x="66536" y="132349"/>
                    </a:cubicBezTo>
                    <a:cubicBezTo>
                      <a:pt x="43393" y="132349"/>
                      <a:pt x="23505" y="114268"/>
                      <a:pt x="20973" y="91125"/>
                    </a:cubicBezTo>
                    <a:lnTo>
                      <a:pt x="112098" y="91125"/>
                    </a:lnTo>
                    <a:close/>
                    <a:moveTo>
                      <a:pt x="9402" y="77384"/>
                    </a:moveTo>
                    <a:cubicBezTo>
                      <a:pt x="9402" y="75938"/>
                      <a:pt x="9763" y="75214"/>
                      <a:pt x="10125" y="74491"/>
                    </a:cubicBezTo>
                    <a:cubicBezTo>
                      <a:pt x="10125" y="74491"/>
                      <a:pt x="10487" y="74491"/>
                      <a:pt x="10487" y="74491"/>
                    </a:cubicBezTo>
                    <a:lnTo>
                      <a:pt x="122585" y="74491"/>
                    </a:lnTo>
                    <a:cubicBezTo>
                      <a:pt x="122585" y="74491"/>
                      <a:pt x="122947" y="74491"/>
                      <a:pt x="122947" y="74491"/>
                    </a:cubicBezTo>
                    <a:cubicBezTo>
                      <a:pt x="123308" y="75214"/>
                      <a:pt x="123670" y="75938"/>
                      <a:pt x="123670" y="77384"/>
                    </a:cubicBezTo>
                    <a:cubicBezTo>
                      <a:pt x="123670" y="79554"/>
                      <a:pt x="122947" y="80639"/>
                      <a:pt x="122585" y="81000"/>
                    </a:cubicBezTo>
                    <a:lnTo>
                      <a:pt x="10487" y="81000"/>
                    </a:lnTo>
                    <a:cubicBezTo>
                      <a:pt x="10487" y="80639"/>
                      <a:pt x="9402" y="79554"/>
                      <a:pt x="9402" y="77384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" name="Рисунок 93">
                <a:extLst>
                  <a:ext uri="{FF2B5EF4-FFF2-40B4-BE49-F238E27FC236}">
                    <a16:creationId xmlns:a16="http://schemas.microsoft.com/office/drawing/2014/main" xmlns="" id="{1CBC6561-F2A8-4E6D-94A1-8CE18C68B3A3}"/>
                  </a:ext>
                </a:extLst>
              </p:cNvPr>
              <p:cNvSpPr/>
              <p:nvPr/>
            </p:nvSpPr>
            <p:spPr>
              <a:xfrm>
                <a:off x="9144369" y="5264793"/>
                <a:ext cx="77384" cy="77384"/>
              </a:xfrm>
              <a:custGeom>
                <a:avLst/>
                <a:gdLst>
                  <a:gd name="connsiteX0" fmla="*/ 38692 w 77384"/>
                  <a:gd name="connsiteY0" fmla="*/ 77384 h 77384"/>
                  <a:gd name="connsiteX1" fmla="*/ 77384 w 77384"/>
                  <a:gd name="connsiteY1" fmla="*/ 38692 h 77384"/>
                  <a:gd name="connsiteX2" fmla="*/ 38692 w 77384"/>
                  <a:gd name="connsiteY2" fmla="*/ 0 h 77384"/>
                  <a:gd name="connsiteX3" fmla="*/ 0 w 77384"/>
                  <a:gd name="connsiteY3" fmla="*/ 38692 h 77384"/>
                  <a:gd name="connsiteX4" fmla="*/ 38692 w 77384"/>
                  <a:gd name="connsiteY4" fmla="*/ 77384 h 77384"/>
                  <a:gd name="connsiteX5" fmla="*/ 38692 w 77384"/>
                  <a:gd name="connsiteY5" fmla="*/ 11210 h 77384"/>
                  <a:gd name="connsiteX6" fmla="*/ 66536 w 77384"/>
                  <a:gd name="connsiteY6" fmla="*/ 39054 h 77384"/>
                  <a:gd name="connsiteX7" fmla="*/ 38692 w 77384"/>
                  <a:gd name="connsiteY7" fmla="*/ 66536 h 77384"/>
                  <a:gd name="connsiteX8" fmla="*/ 10848 w 77384"/>
                  <a:gd name="connsiteY8" fmla="*/ 38692 h 77384"/>
                  <a:gd name="connsiteX9" fmla="*/ 38692 w 77384"/>
                  <a:gd name="connsiteY9" fmla="*/ 11210 h 77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384">
                    <a:moveTo>
                      <a:pt x="38692" y="77384"/>
                    </a:moveTo>
                    <a:cubicBezTo>
                      <a:pt x="60027" y="77384"/>
                      <a:pt x="77384" y="60027"/>
                      <a:pt x="77384" y="38692"/>
                    </a:cubicBezTo>
                    <a:cubicBezTo>
                      <a:pt x="77384" y="17357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384"/>
                      <a:pt x="38692" y="77384"/>
                    </a:cubicBezTo>
                    <a:close/>
                    <a:moveTo>
                      <a:pt x="38692" y="11210"/>
                    </a:moveTo>
                    <a:cubicBezTo>
                      <a:pt x="54241" y="11210"/>
                      <a:pt x="66536" y="23866"/>
                      <a:pt x="66536" y="39054"/>
                    </a:cubicBezTo>
                    <a:cubicBezTo>
                      <a:pt x="66536" y="54241"/>
                      <a:pt x="54241" y="66536"/>
                      <a:pt x="38692" y="66536"/>
                    </a:cubicBezTo>
                    <a:cubicBezTo>
                      <a:pt x="23143" y="66536"/>
                      <a:pt x="10848" y="53880"/>
                      <a:pt x="10848" y="38692"/>
                    </a:cubicBezTo>
                    <a:cubicBezTo>
                      <a:pt x="10848" y="23505"/>
                      <a:pt x="23143" y="11210"/>
                      <a:pt x="38692" y="1121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" name="Рисунок 93">
                <a:extLst>
                  <a:ext uri="{FF2B5EF4-FFF2-40B4-BE49-F238E27FC236}">
                    <a16:creationId xmlns:a16="http://schemas.microsoft.com/office/drawing/2014/main" xmlns="" id="{157E3C0F-EF00-4617-B8C6-DED0AD7E8892}"/>
                  </a:ext>
                </a:extLst>
              </p:cNvPr>
              <p:cNvSpPr/>
              <p:nvPr/>
            </p:nvSpPr>
            <p:spPr>
              <a:xfrm>
                <a:off x="9366396" y="5265154"/>
                <a:ext cx="77384" cy="77022"/>
              </a:xfrm>
              <a:custGeom>
                <a:avLst/>
                <a:gdLst>
                  <a:gd name="connsiteX0" fmla="*/ 38692 w 77384"/>
                  <a:gd name="connsiteY0" fmla="*/ 77023 h 77022"/>
                  <a:gd name="connsiteX1" fmla="*/ 77384 w 77384"/>
                  <a:gd name="connsiteY1" fmla="*/ 38330 h 77022"/>
                  <a:gd name="connsiteX2" fmla="*/ 38692 w 77384"/>
                  <a:gd name="connsiteY2" fmla="*/ 0 h 77022"/>
                  <a:gd name="connsiteX3" fmla="*/ 0 w 77384"/>
                  <a:gd name="connsiteY3" fmla="*/ 38692 h 77022"/>
                  <a:gd name="connsiteX4" fmla="*/ 38692 w 77384"/>
                  <a:gd name="connsiteY4" fmla="*/ 77023 h 77022"/>
                  <a:gd name="connsiteX5" fmla="*/ 38692 w 77384"/>
                  <a:gd name="connsiteY5" fmla="*/ 10848 h 77022"/>
                  <a:gd name="connsiteX6" fmla="*/ 66536 w 77384"/>
                  <a:gd name="connsiteY6" fmla="*/ 38692 h 77022"/>
                  <a:gd name="connsiteX7" fmla="*/ 38692 w 77384"/>
                  <a:gd name="connsiteY7" fmla="*/ 66174 h 77022"/>
                  <a:gd name="connsiteX8" fmla="*/ 10848 w 77384"/>
                  <a:gd name="connsiteY8" fmla="*/ 38330 h 77022"/>
                  <a:gd name="connsiteX9" fmla="*/ 38692 w 77384"/>
                  <a:gd name="connsiteY9" fmla="*/ 10848 h 77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022">
                    <a:moveTo>
                      <a:pt x="38692" y="77023"/>
                    </a:moveTo>
                    <a:cubicBezTo>
                      <a:pt x="60027" y="77023"/>
                      <a:pt x="77384" y="59665"/>
                      <a:pt x="77384" y="38330"/>
                    </a:cubicBezTo>
                    <a:cubicBezTo>
                      <a:pt x="77384" y="16996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023"/>
                      <a:pt x="38692" y="77023"/>
                    </a:cubicBezTo>
                    <a:close/>
                    <a:moveTo>
                      <a:pt x="38692" y="10848"/>
                    </a:moveTo>
                    <a:cubicBezTo>
                      <a:pt x="54241" y="10848"/>
                      <a:pt x="66536" y="23505"/>
                      <a:pt x="66536" y="38692"/>
                    </a:cubicBezTo>
                    <a:cubicBezTo>
                      <a:pt x="66536" y="53880"/>
                      <a:pt x="54241" y="66174"/>
                      <a:pt x="38692" y="66174"/>
                    </a:cubicBezTo>
                    <a:cubicBezTo>
                      <a:pt x="23143" y="66174"/>
                      <a:pt x="10848" y="53518"/>
                      <a:pt x="10848" y="38330"/>
                    </a:cubicBezTo>
                    <a:cubicBezTo>
                      <a:pt x="10848" y="23143"/>
                      <a:pt x="23143" y="10848"/>
                      <a:pt x="3869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" name="Рисунок 93">
                <a:extLst>
                  <a:ext uri="{FF2B5EF4-FFF2-40B4-BE49-F238E27FC236}">
                    <a16:creationId xmlns:a16="http://schemas.microsoft.com/office/drawing/2014/main" xmlns="" id="{04E720D0-7F1D-4E24-B82D-E00E38C3C6D1}"/>
                  </a:ext>
                </a:extLst>
              </p:cNvPr>
              <p:cNvSpPr/>
              <p:nvPr/>
            </p:nvSpPr>
            <p:spPr>
              <a:xfrm>
                <a:off x="9120502" y="5319757"/>
                <a:ext cx="346420" cy="94741"/>
              </a:xfrm>
              <a:custGeom>
                <a:avLst/>
                <a:gdLst>
                  <a:gd name="connsiteX0" fmla="*/ 328340 w 346420"/>
                  <a:gd name="connsiteY0" fmla="*/ 41585 h 94741"/>
                  <a:gd name="connsiteX1" fmla="*/ 284224 w 346420"/>
                  <a:gd name="connsiteY1" fmla="*/ 23143 h 94741"/>
                  <a:gd name="connsiteX2" fmla="*/ 244085 w 346420"/>
                  <a:gd name="connsiteY2" fmla="*/ 37969 h 94741"/>
                  <a:gd name="connsiteX3" fmla="*/ 173572 w 346420"/>
                  <a:gd name="connsiteY3" fmla="*/ 0 h 94741"/>
                  <a:gd name="connsiteX4" fmla="*/ 102697 w 346420"/>
                  <a:gd name="connsiteY4" fmla="*/ 38330 h 94741"/>
                  <a:gd name="connsiteX5" fmla="*/ 62197 w 346420"/>
                  <a:gd name="connsiteY5" fmla="*/ 23505 h 94741"/>
                  <a:gd name="connsiteX6" fmla="*/ 0 w 346420"/>
                  <a:gd name="connsiteY6" fmla="*/ 85701 h 94741"/>
                  <a:gd name="connsiteX7" fmla="*/ 0 w 346420"/>
                  <a:gd name="connsiteY7" fmla="*/ 94741 h 94741"/>
                  <a:gd name="connsiteX8" fmla="*/ 90040 w 346420"/>
                  <a:gd name="connsiteY8" fmla="*/ 94741 h 94741"/>
                  <a:gd name="connsiteX9" fmla="*/ 99804 w 346420"/>
                  <a:gd name="connsiteY9" fmla="*/ 94741 h 94741"/>
                  <a:gd name="connsiteX10" fmla="*/ 245532 w 346420"/>
                  <a:gd name="connsiteY10" fmla="*/ 94741 h 94741"/>
                  <a:gd name="connsiteX11" fmla="*/ 257827 w 346420"/>
                  <a:gd name="connsiteY11" fmla="*/ 94741 h 94741"/>
                  <a:gd name="connsiteX12" fmla="*/ 346420 w 346420"/>
                  <a:gd name="connsiteY12" fmla="*/ 94741 h 94741"/>
                  <a:gd name="connsiteX13" fmla="*/ 346420 w 346420"/>
                  <a:gd name="connsiteY13" fmla="*/ 85701 h 94741"/>
                  <a:gd name="connsiteX14" fmla="*/ 328340 w 346420"/>
                  <a:gd name="connsiteY14" fmla="*/ 41585 h 94741"/>
                  <a:gd name="connsiteX15" fmla="*/ 10848 w 346420"/>
                  <a:gd name="connsiteY15" fmla="*/ 83531 h 94741"/>
                  <a:gd name="connsiteX16" fmla="*/ 62197 w 346420"/>
                  <a:gd name="connsiteY16" fmla="*/ 33991 h 94741"/>
                  <a:gd name="connsiteX17" fmla="*/ 97273 w 346420"/>
                  <a:gd name="connsiteY17" fmla="*/ 47371 h 94741"/>
                  <a:gd name="connsiteX18" fmla="*/ 88956 w 346420"/>
                  <a:gd name="connsiteY18" fmla="*/ 83531 h 94741"/>
                  <a:gd name="connsiteX19" fmla="*/ 10848 w 346420"/>
                  <a:gd name="connsiteY19" fmla="*/ 83531 h 94741"/>
                  <a:gd name="connsiteX20" fmla="*/ 99804 w 346420"/>
                  <a:gd name="connsiteY20" fmla="*/ 83531 h 94741"/>
                  <a:gd name="connsiteX21" fmla="*/ 173572 w 346420"/>
                  <a:gd name="connsiteY21" fmla="*/ 10848 h 94741"/>
                  <a:gd name="connsiteX22" fmla="*/ 237215 w 346420"/>
                  <a:gd name="connsiteY22" fmla="*/ 47371 h 94741"/>
                  <a:gd name="connsiteX23" fmla="*/ 238300 w 346420"/>
                  <a:gd name="connsiteY23" fmla="*/ 49179 h 94741"/>
                  <a:gd name="connsiteX24" fmla="*/ 246978 w 346420"/>
                  <a:gd name="connsiteY24" fmla="*/ 83531 h 94741"/>
                  <a:gd name="connsiteX25" fmla="*/ 99804 w 346420"/>
                  <a:gd name="connsiteY25" fmla="*/ 83531 h 94741"/>
                  <a:gd name="connsiteX26" fmla="*/ 258188 w 346420"/>
                  <a:gd name="connsiteY26" fmla="*/ 83531 h 94741"/>
                  <a:gd name="connsiteX27" fmla="*/ 249871 w 346420"/>
                  <a:gd name="connsiteY27" fmla="*/ 47371 h 94741"/>
                  <a:gd name="connsiteX28" fmla="*/ 284586 w 346420"/>
                  <a:gd name="connsiteY28" fmla="*/ 33991 h 94741"/>
                  <a:gd name="connsiteX29" fmla="*/ 320746 w 346420"/>
                  <a:gd name="connsiteY29" fmla="*/ 49179 h 94741"/>
                  <a:gd name="connsiteX30" fmla="*/ 335572 w 346420"/>
                  <a:gd name="connsiteY30" fmla="*/ 83531 h 94741"/>
                  <a:gd name="connsiteX31" fmla="*/ 258188 w 346420"/>
                  <a:gd name="connsiteY31" fmla="*/ 83531 h 94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46420" h="94741">
                    <a:moveTo>
                      <a:pt x="328340" y="41585"/>
                    </a:moveTo>
                    <a:cubicBezTo>
                      <a:pt x="316769" y="29652"/>
                      <a:pt x="300858" y="23143"/>
                      <a:pt x="284224" y="23143"/>
                    </a:cubicBezTo>
                    <a:cubicBezTo>
                      <a:pt x="269398" y="23143"/>
                      <a:pt x="255295" y="28205"/>
                      <a:pt x="244085" y="37969"/>
                    </a:cubicBezTo>
                    <a:cubicBezTo>
                      <a:pt x="228898" y="15188"/>
                      <a:pt x="202862" y="0"/>
                      <a:pt x="173572" y="0"/>
                    </a:cubicBezTo>
                    <a:cubicBezTo>
                      <a:pt x="143920" y="0"/>
                      <a:pt x="117884" y="15188"/>
                      <a:pt x="102697" y="38330"/>
                    </a:cubicBezTo>
                    <a:cubicBezTo>
                      <a:pt x="91487" y="28929"/>
                      <a:pt x="77384" y="23505"/>
                      <a:pt x="62197" y="23505"/>
                    </a:cubicBezTo>
                    <a:cubicBezTo>
                      <a:pt x="27844" y="23505"/>
                      <a:pt x="0" y="51348"/>
                      <a:pt x="0" y="85701"/>
                    </a:cubicBezTo>
                    <a:lnTo>
                      <a:pt x="0" y="94741"/>
                    </a:lnTo>
                    <a:lnTo>
                      <a:pt x="90040" y="94741"/>
                    </a:lnTo>
                    <a:lnTo>
                      <a:pt x="99804" y="94741"/>
                    </a:lnTo>
                    <a:lnTo>
                      <a:pt x="245532" y="94741"/>
                    </a:lnTo>
                    <a:lnTo>
                      <a:pt x="257827" y="94741"/>
                    </a:lnTo>
                    <a:lnTo>
                      <a:pt x="346420" y="94741"/>
                    </a:lnTo>
                    <a:lnTo>
                      <a:pt x="346420" y="85701"/>
                    </a:lnTo>
                    <a:cubicBezTo>
                      <a:pt x="346420" y="68706"/>
                      <a:pt x="340273" y="53156"/>
                      <a:pt x="328340" y="41585"/>
                    </a:cubicBezTo>
                    <a:close/>
                    <a:moveTo>
                      <a:pt x="10848" y="83531"/>
                    </a:moveTo>
                    <a:cubicBezTo>
                      <a:pt x="11933" y="56049"/>
                      <a:pt x="34353" y="33991"/>
                      <a:pt x="62197" y="33991"/>
                    </a:cubicBezTo>
                    <a:cubicBezTo>
                      <a:pt x="75214" y="33991"/>
                      <a:pt x="87871" y="38692"/>
                      <a:pt x="97273" y="47371"/>
                    </a:cubicBezTo>
                    <a:cubicBezTo>
                      <a:pt x="92210" y="58581"/>
                      <a:pt x="89317" y="70875"/>
                      <a:pt x="88956" y="83531"/>
                    </a:cubicBezTo>
                    <a:lnTo>
                      <a:pt x="10848" y="83531"/>
                    </a:lnTo>
                    <a:close/>
                    <a:moveTo>
                      <a:pt x="99804" y="83531"/>
                    </a:moveTo>
                    <a:cubicBezTo>
                      <a:pt x="99804" y="43393"/>
                      <a:pt x="133072" y="10848"/>
                      <a:pt x="173572" y="10848"/>
                    </a:cubicBezTo>
                    <a:cubicBezTo>
                      <a:pt x="200692" y="10848"/>
                      <a:pt x="224559" y="25674"/>
                      <a:pt x="237215" y="47371"/>
                    </a:cubicBezTo>
                    <a:lnTo>
                      <a:pt x="238300" y="49179"/>
                    </a:lnTo>
                    <a:cubicBezTo>
                      <a:pt x="244085" y="60027"/>
                      <a:pt x="246978" y="71598"/>
                      <a:pt x="246978" y="83531"/>
                    </a:cubicBezTo>
                    <a:lnTo>
                      <a:pt x="99804" y="83531"/>
                    </a:lnTo>
                    <a:close/>
                    <a:moveTo>
                      <a:pt x="258188" y="83531"/>
                    </a:moveTo>
                    <a:cubicBezTo>
                      <a:pt x="258188" y="70514"/>
                      <a:pt x="255295" y="58581"/>
                      <a:pt x="249871" y="47371"/>
                    </a:cubicBezTo>
                    <a:cubicBezTo>
                      <a:pt x="259273" y="38692"/>
                      <a:pt x="271568" y="33991"/>
                      <a:pt x="284586" y="33991"/>
                    </a:cubicBezTo>
                    <a:cubicBezTo>
                      <a:pt x="298327" y="33991"/>
                      <a:pt x="311345" y="39415"/>
                      <a:pt x="320746" y="49179"/>
                    </a:cubicBezTo>
                    <a:cubicBezTo>
                      <a:pt x="329787" y="58581"/>
                      <a:pt x="335211" y="70514"/>
                      <a:pt x="335572" y="83531"/>
                    </a:cubicBezTo>
                    <a:lnTo>
                      <a:pt x="258188" y="83531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96" name="Группа 295">
            <a:extLst>
              <a:ext uri="{FF2B5EF4-FFF2-40B4-BE49-F238E27FC236}">
                <a16:creationId xmlns:a16="http://schemas.microsoft.com/office/drawing/2014/main" xmlns="" id="{0E7B95BF-C7F3-4A9A-9210-ED91C75E551C}"/>
              </a:ext>
            </a:extLst>
          </p:cNvPr>
          <p:cNvGrpSpPr/>
          <p:nvPr/>
        </p:nvGrpSpPr>
        <p:grpSpPr>
          <a:xfrm>
            <a:off x="7133792" y="3403372"/>
            <a:ext cx="756711" cy="734387"/>
            <a:chOff x="5373490" y="5016400"/>
            <a:chExt cx="550305" cy="550305"/>
          </a:xfrm>
        </p:grpSpPr>
        <p:sp>
          <p:nvSpPr>
            <p:cNvPr id="297" name="Овал 296">
              <a:extLst>
                <a:ext uri="{FF2B5EF4-FFF2-40B4-BE49-F238E27FC236}">
                  <a16:creationId xmlns:a16="http://schemas.microsoft.com/office/drawing/2014/main" xmlns="" id="{2D4BB4F1-94C1-49D2-8B15-9AC07E9B9D71}"/>
                </a:ext>
              </a:extLst>
            </p:cNvPr>
            <p:cNvSpPr/>
            <p:nvPr/>
          </p:nvSpPr>
          <p:spPr>
            <a:xfrm>
              <a:off x="5373490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98" name="Рисунок 85">
              <a:extLst>
                <a:ext uri="{FF2B5EF4-FFF2-40B4-BE49-F238E27FC236}">
                  <a16:creationId xmlns:a16="http://schemas.microsoft.com/office/drawing/2014/main" xmlns="" id="{FAB211D1-5986-4BFD-9BBC-2138F8BC5210}"/>
                </a:ext>
              </a:extLst>
            </p:cNvPr>
            <p:cNvGrpSpPr/>
            <p:nvPr/>
          </p:nvGrpSpPr>
          <p:grpSpPr>
            <a:xfrm>
              <a:off x="5476098" y="5130146"/>
              <a:ext cx="341524" cy="310559"/>
              <a:chOff x="5476098" y="5130146"/>
              <a:chExt cx="341524" cy="310559"/>
            </a:xfrm>
            <a:solidFill>
              <a:srgbClr val="000000"/>
            </a:solidFill>
          </p:grpSpPr>
          <p:sp>
            <p:nvSpPr>
              <p:cNvPr id="299" name="Рисунок 85">
                <a:extLst>
                  <a:ext uri="{FF2B5EF4-FFF2-40B4-BE49-F238E27FC236}">
                    <a16:creationId xmlns:a16="http://schemas.microsoft.com/office/drawing/2014/main" xmlns="" id="{A57C14B3-F8A2-43B9-BEA1-43C8A3D890A7}"/>
                  </a:ext>
                </a:extLst>
              </p:cNvPr>
              <p:cNvSpPr/>
              <p:nvPr/>
            </p:nvSpPr>
            <p:spPr>
              <a:xfrm>
                <a:off x="5507504" y="5224709"/>
                <a:ext cx="276811" cy="173815"/>
              </a:xfrm>
              <a:custGeom>
                <a:avLst/>
                <a:gdLst>
                  <a:gd name="connsiteX0" fmla="*/ 5179 w 276811"/>
                  <a:gd name="connsiteY0" fmla="*/ 163458 h 173815"/>
                  <a:gd name="connsiteX1" fmla="*/ 0 w 276811"/>
                  <a:gd name="connsiteY1" fmla="*/ 168637 h 173815"/>
                  <a:gd name="connsiteX2" fmla="*/ 5179 w 276811"/>
                  <a:gd name="connsiteY2" fmla="*/ 173816 h 173815"/>
                  <a:gd name="connsiteX3" fmla="*/ 271632 w 276811"/>
                  <a:gd name="connsiteY3" fmla="*/ 173816 h 173815"/>
                  <a:gd name="connsiteX4" fmla="*/ 276812 w 276811"/>
                  <a:gd name="connsiteY4" fmla="*/ 168637 h 173815"/>
                  <a:gd name="connsiteX5" fmla="*/ 271632 w 276811"/>
                  <a:gd name="connsiteY5" fmla="*/ 163458 h 173815"/>
                  <a:gd name="connsiteX6" fmla="*/ 242729 w 276811"/>
                  <a:gd name="connsiteY6" fmla="*/ 163458 h 173815"/>
                  <a:gd name="connsiteX7" fmla="*/ 242729 w 276811"/>
                  <a:gd name="connsiteY7" fmla="*/ 10590 h 173815"/>
                  <a:gd name="connsiteX8" fmla="*/ 271632 w 276811"/>
                  <a:gd name="connsiteY8" fmla="*/ 10590 h 173815"/>
                  <a:gd name="connsiteX9" fmla="*/ 276812 w 276811"/>
                  <a:gd name="connsiteY9" fmla="*/ 5411 h 173815"/>
                  <a:gd name="connsiteX10" fmla="*/ 271632 w 276811"/>
                  <a:gd name="connsiteY10" fmla="*/ 232 h 173815"/>
                  <a:gd name="connsiteX11" fmla="*/ 34852 w 276811"/>
                  <a:gd name="connsiteY11" fmla="*/ 232 h 173815"/>
                  <a:gd name="connsiteX12" fmla="*/ 33405 w 276811"/>
                  <a:gd name="connsiteY12" fmla="*/ 0 h 173815"/>
                  <a:gd name="connsiteX13" fmla="*/ 31958 w 276811"/>
                  <a:gd name="connsiteY13" fmla="*/ 232 h 173815"/>
                  <a:gd name="connsiteX14" fmla="*/ 5179 w 276811"/>
                  <a:gd name="connsiteY14" fmla="*/ 232 h 173815"/>
                  <a:gd name="connsiteX15" fmla="*/ 0 w 276811"/>
                  <a:gd name="connsiteY15" fmla="*/ 5411 h 173815"/>
                  <a:gd name="connsiteX16" fmla="*/ 5179 w 276811"/>
                  <a:gd name="connsiteY16" fmla="*/ 10590 h 173815"/>
                  <a:gd name="connsiteX17" fmla="*/ 28248 w 276811"/>
                  <a:gd name="connsiteY17" fmla="*/ 10590 h 173815"/>
                  <a:gd name="connsiteX18" fmla="*/ 28248 w 276811"/>
                  <a:gd name="connsiteY18" fmla="*/ 163458 h 173815"/>
                  <a:gd name="connsiteX19" fmla="*/ 5179 w 276811"/>
                  <a:gd name="connsiteY19" fmla="*/ 163458 h 173815"/>
                  <a:gd name="connsiteX20" fmla="*/ 108724 w 276811"/>
                  <a:gd name="connsiteY20" fmla="*/ 163458 h 173815"/>
                  <a:gd name="connsiteX21" fmla="*/ 108724 w 276811"/>
                  <a:gd name="connsiteY21" fmla="*/ 10590 h 173815"/>
                  <a:gd name="connsiteX22" fmla="*/ 165953 w 276811"/>
                  <a:gd name="connsiteY22" fmla="*/ 10590 h 173815"/>
                  <a:gd name="connsiteX23" fmla="*/ 165953 w 276811"/>
                  <a:gd name="connsiteY23" fmla="*/ 163458 h 173815"/>
                  <a:gd name="connsiteX24" fmla="*/ 108724 w 276811"/>
                  <a:gd name="connsiteY24" fmla="*/ 163458 h 173815"/>
                  <a:gd name="connsiteX25" fmla="*/ 232371 w 276811"/>
                  <a:gd name="connsiteY25" fmla="*/ 163458 h 173815"/>
                  <a:gd name="connsiteX26" fmla="*/ 176311 w 276811"/>
                  <a:gd name="connsiteY26" fmla="*/ 163458 h 173815"/>
                  <a:gd name="connsiteX27" fmla="*/ 176311 w 276811"/>
                  <a:gd name="connsiteY27" fmla="*/ 10590 h 173815"/>
                  <a:gd name="connsiteX28" fmla="*/ 232371 w 276811"/>
                  <a:gd name="connsiteY28" fmla="*/ 10590 h 173815"/>
                  <a:gd name="connsiteX29" fmla="*/ 232371 w 276811"/>
                  <a:gd name="connsiteY29" fmla="*/ 163458 h 173815"/>
                  <a:gd name="connsiteX30" fmla="*/ 38563 w 276811"/>
                  <a:gd name="connsiteY30" fmla="*/ 10590 h 173815"/>
                  <a:gd name="connsiteX31" fmla="*/ 98366 w 276811"/>
                  <a:gd name="connsiteY31" fmla="*/ 10590 h 173815"/>
                  <a:gd name="connsiteX32" fmla="*/ 98366 w 276811"/>
                  <a:gd name="connsiteY32" fmla="*/ 163458 h 173815"/>
                  <a:gd name="connsiteX33" fmla="*/ 38563 w 276811"/>
                  <a:gd name="connsiteY33" fmla="*/ 163458 h 173815"/>
                  <a:gd name="connsiteX34" fmla="*/ 38563 w 276811"/>
                  <a:gd name="connsiteY34" fmla="*/ 10590 h 173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76811" h="173815">
                    <a:moveTo>
                      <a:pt x="5179" y="163458"/>
                    </a:moveTo>
                    <a:cubicBezTo>
                      <a:pt x="2317" y="163458"/>
                      <a:pt x="0" y="165775"/>
                      <a:pt x="0" y="168637"/>
                    </a:cubicBezTo>
                    <a:cubicBezTo>
                      <a:pt x="0" y="171499"/>
                      <a:pt x="2317" y="173816"/>
                      <a:pt x="5179" y="173816"/>
                    </a:cubicBezTo>
                    <a:lnTo>
                      <a:pt x="271632" y="173816"/>
                    </a:lnTo>
                    <a:cubicBezTo>
                      <a:pt x="274495" y="173816"/>
                      <a:pt x="276812" y="171499"/>
                      <a:pt x="276812" y="168637"/>
                    </a:cubicBezTo>
                    <a:cubicBezTo>
                      <a:pt x="276812" y="165775"/>
                      <a:pt x="274495" y="163458"/>
                      <a:pt x="271632" y="163458"/>
                    </a:cubicBezTo>
                    <a:lnTo>
                      <a:pt x="242729" y="163458"/>
                    </a:lnTo>
                    <a:lnTo>
                      <a:pt x="242729" y="10590"/>
                    </a:lnTo>
                    <a:lnTo>
                      <a:pt x="271632" y="10590"/>
                    </a:lnTo>
                    <a:cubicBezTo>
                      <a:pt x="274495" y="10590"/>
                      <a:pt x="276812" y="8273"/>
                      <a:pt x="276812" y="5411"/>
                    </a:cubicBezTo>
                    <a:cubicBezTo>
                      <a:pt x="276812" y="2549"/>
                      <a:pt x="274495" y="232"/>
                      <a:pt x="271632" y="232"/>
                    </a:cubicBezTo>
                    <a:lnTo>
                      <a:pt x="34852" y="232"/>
                    </a:lnTo>
                    <a:cubicBezTo>
                      <a:pt x="34389" y="96"/>
                      <a:pt x="33911" y="0"/>
                      <a:pt x="33405" y="0"/>
                    </a:cubicBezTo>
                    <a:cubicBezTo>
                      <a:pt x="32899" y="0"/>
                      <a:pt x="32418" y="96"/>
                      <a:pt x="31958" y="232"/>
                    </a:cubicBezTo>
                    <a:lnTo>
                      <a:pt x="5179" y="232"/>
                    </a:lnTo>
                    <a:cubicBezTo>
                      <a:pt x="2317" y="232"/>
                      <a:pt x="0" y="2549"/>
                      <a:pt x="0" y="5411"/>
                    </a:cubicBezTo>
                    <a:cubicBezTo>
                      <a:pt x="0" y="8273"/>
                      <a:pt x="2317" y="10590"/>
                      <a:pt x="5179" y="10590"/>
                    </a:cubicBezTo>
                    <a:lnTo>
                      <a:pt x="28248" y="10590"/>
                    </a:lnTo>
                    <a:lnTo>
                      <a:pt x="28248" y="163458"/>
                    </a:lnTo>
                    <a:lnTo>
                      <a:pt x="5179" y="163458"/>
                    </a:lnTo>
                    <a:close/>
                    <a:moveTo>
                      <a:pt x="108724" y="163458"/>
                    </a:moveTo>
                    <a:lnTo>
                      <a:pt x="108724" y="10590"/>
                    </a:lnTo>
                    <a:lnTo>
                      <a:pt x="165953" y="10590"/>
                    </a:lnTo>
                    <a:lnTo>
                      <a:pt x="165953" y="163458"/>
                    </a:lnTo>
                    <a:lnTo>
                      <a:pt x="108724" y="163458"/>
                    </a:lnTo>
                    <a:close/>
                    <a:moveTo>
                      <a:pt x="232371" y="163458"/>
                    </a:moveTo>
                    <a:lnTo>
                      <a:pt x="176311" y="163458"/>
                    </a:lnTo>
                    <a:lnTo>
                      <a:pt x="176311" y="10590"/>
                    </a:lnTo>
                    <a:lnTo>
                      <a:pt x="232371" y="10590"/>
                    </a:lnTo>
                    <a:lnTo>
                      <a:pt x="232371" y="163458"/>
                    </a:lnTo>
                    <a:close/>
                    <a:moveTo>
                      <a:pt x="38563" y="10590"/>
                    </a:moveTo>
                    <a:lnTo>
                      <a:pt x="98366" y="10590"/>
                    </a:lnTo>
                    <a:lnTo>
                      <a:pt x="98366" y="163458"/>
                    </a:lnTo>
                    <a:lnTo>
                      <a:pt x="38563" y="163458"/>
                    </a:lnTo>
                    <a:lnTo>
                      <a:pt x="38563" y="10590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0" name="Рисунок 85">
                <a:extLst>
                  <a:ext uri="{FF2B5EF4-FFF2-40B4-BE49-F238E27FC236}">
                    <a16:creationId xmlns:a16="http://schemas.microsoft.com/office/drawing/2014/main" xmlns="" id="{BEE5FD7F-B025-4FBF-AB46-C4584022DDEE}"/>
                  </a:ext>
                </a:extLst>
              </p:cNvPr>
              <p:cNvSpPr/>
              <p:nvPr/>
            </p:nvSpPr>
            <p:spPr>
              <a:xfrm>
                <a:off x="5476098" y="5430348"/>
                <a:ext cx="339622" cy="10358"/>
              </a:xfrm>
              <a:custGeom>
                <a:avLst/>
                <a:gdLst>
                  <a:gd name="connsiteX0" fmla="*/ 334444 w 339622"/>
                  <a:gd name="connsiteY0" fmla="*/ 0 h 10358"/>
                  <a:gd name="connsiteX1" fmla="*/ 5179 w 339622"/>
                  <a:gd name="connsiteY1" fmla="*/ 0 h 10358"/>
                  <a:gd name="connsiteX2" fmla="*/ 0 w 339622"/>
                  <a:gd name="connsiteY2" fmla="*/ 5179 h 10358"/>
                  <a:gd name="connsiteX3" fmla="*/ 5179 w 339622"/>
                  <a:gd name="connsiteY3" fmla="*/ 10358 h 10358"/>
                  <a:gd name="connsiteX4" fmla="*/ 334444 w 339622"/>
                  <a:gd name="connsiteY4" fmla="*/ 10358 h 10358"/>
                  <a:gd name="connsiteX5" fmla="*/ 339623 w 339622"/>
                  <a:gd name="connsiteY5" fmla="*/ 5179 h 10358"/>
                  <a:gd name="connsiteX6" fmla="*/ 334444 w 339622"/>
                  <a:gd name="connsiteY6" fmla="*/ 0 h 10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622" h="10358">
                    <a:moveTo>
                      <a:pt x="334444" y="0"/>
                    </a:moveTo>
                    <a:lnTo>
                      <a:pt x="5179" y="0"/>
                    </a:lnTo>
                    <a:cubicBezTo>
                      <a:pt x="2317" y="0"/>
                      <a:pt x="0" y="2317"/>
                      <a:pt x="0" y="5179"/>
                    </a:cubicBezTo>
                    <a:cubicBezTo>
                      <a:pt x="0" y="8041"/>
                      <a:pt x="2317" y="10358"/>
                      <a:pt x="5179" y="10358"/>
                    </a:cubicBezTo>
                    <a:lnTo>
                      <a:pt x="334444" y="10358"/>
                    </a:lnTo>
                    <a:cubicBezTo>
                      <a:pt x="337306" y="10358"/>
                      <a:pt x="339623" y="8041"/>
                      <a:pt x="339623" y="5179"/>
                    </a:cubicBezTo>
                    <a:cubicBezTo>
                      <a:pt x="339623" y="2317"/>
                      <a:pt x="337306" y="0"/>
                      <a:pt x="33444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1" name="Рисунок 85">
                <a:extLst>
                  <a:ext uri="{FF2B5EF4-FFF2-40B4-BE49-F238E27FC236}">
                    <a16:creationId xmlns:a16="http://schemas.microsoft.com/office/drawing/2014/main" xmlns="" id="{941BB427-2068-4C6C-87E4-FA030FD72FA1}"/>
                  </a:ext>
                </a:extLst>
              </p:cNvPr>
              <p:cNvSpPr/>
              <p:nvPr/>
            </p:nvSpPr>
            <p:spPr>
              <a:xfrm>
                <a:off x="5476915" y="5130146"/>
                <a:ext cx="340707" cy="104428"/>
              </a:xfrm>
              <a:custGeom>
                <a:avLst/>
                <a:gdLst>
                  <a:gd name="connsiteX0" fmla="*/ 338096 w 340707"/>
                  <a:gd name="connsiteY0" fmla="*/ 94752 h 104428"/>
                  <a:gd name="connsiteX1" fmla="*/ 173462 w 340707"/>
                  <a:gd name="connsiteY1" fmla="*/ 681 h 104428"/>
                  <a:gd name="connsiteX2" fmla="*/ 168336 w 340707"/>
                  <a:gd name="connsiteY2" fmla="*/ 674 h 104428"/>
                  <a:gd name="connsiteX3" fmla="*/ 2622 w 340707"/>
                  <a:gd name="connsiteY3" fmla="*/ 94745 h 104428"/>
                  <a:gd name="connsiteX4" fmla="*/ 676 w 340707"/>
                  <a:gd name="connsiteY4" fmla="*/ 101806 h 104428"/>
                  <a:gd name="connsiteX5" fmla="*/ 5185 w 340707"/>
                  <a:gd name="connsiteY5" fmla="*/ 104429 h 104428"/>
                  <a:gd name="connsiteX6" fmla="*/ 7737 w 340707"/>
                  <a:gd name="connsiteY6" fmla="*/ 103755 h 104428"/>
                  <a:gd name="connsiteX7" fmla="*/ 170885 w 340707"/>
                  <a:gd name="connsiteY7" fmla="*/ 11139 h 104428"/>
                  <a:gd name="connsiteX8" fmla="*/ 332960 w 340707"/>
                  <a:gd name="connsiteY8" fmla="*/ 103745 h 104428"/>
                  <a:gd name="connsiteX9" fmla="*/ 340024 w 340707"/>
                  <a:gd name="connsiteY9" fmla="*/ 101816 h 104428"/>
                  <a:gd name="connsiteX10" fmla="*/ 338096 w 340707"/>
                  <a:gd name="connsiteY10" fmla="*/ 94752 h 10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707" h="104428">
                    <a:moveTo>
                      <a:pt x="338096" y="94752"/>
                    </a:moveTo>
                    <a:lnTo>
                      <a:pt x="173462" y="681"/>
                    </a:lnTo>
                    <a:cubicBezTo>
                      <a:pt x="171876" y="-224"/>
                      <a:pt x="169922" y="-228"/>
                      <a:pt x="168336" y="674"/>
                    </a:cubicBezTo>
                    <a:lnTo>
                      <a:pt x="2622" y="94745"/>
                    </a:lnTo>
                    <a:cubicBezTo>
                      <a:pt x="134" y="96156"/>
                      <a:pt x="-735" y="99318"/>
                      <a:pt x="676" y="101806"/>
                    </a:cubicBezTo>
                    <a:cubicBezTo>
                      <a:pt x="1631" y="103488"/>
                      <a:pt x="3381" y="104429"/>
                      <a:pt x="5185" y="104429"/>
                    </a:cubicBezTo>
                    <a:cubicBezTo>
                      <a:pt x="6051" y="104429"/>
                      <a:pt x="6928" y="104212"/>
                      <a:pt x="7737" y="103755"/>
                    </a:cubicBezTo>
                    <a:lnTo>
                      <a:pt x="170885" y="11139"/>
                    </a:lnTo>
                    <a:lnTo>
                      <a:pt x="332960" y="103745"/>
                    </a:lnTo>
                    <a:cubicBezTo>
                      <a:pt x="335433" y="105156"/>
                      <a:pt x="338599" y="104304"/>
                      <a:pt x="340024" y="101816"/>
                    </a:cubicBezTo>
                    <a:cubicBezTo>
                      <a:pt x="341443" y="99336"/>
                      <a:pt x="340580" y="96174"/>
                      <a:pt x="338096" y="9475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69624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>
            <a:extLst>
              <a:ext uri="{FF2B5EF4-FFF2-40B4-BE49-F238E27FC236}">
                <a16:creationId xmlns:a16="http://schemas.microsoft.com/office/drawing/2014/main" xmlns="" id="{A8422DC5-987D-4949-8543-B54023A079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0205" name="Слайд think-cell" r:id="rId4" imgW="7761960" imgH="100479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B1FD3F5-D117-F04A-92B9-D823373C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Формат обучения</a:t>
            </a:r>
            <a:endParaRPr lang="ru-RU" dirty="0"/>
          </a:p>
        </p:txBody>
      </p:sp>
      <p:sp>
        <p:nvSpPr>
          <p:cNvPr id="41" name="Текст 40">
            <a:extLst>
              <a:ext uri="{FF2B5EF4-FFF2-40B4-BE49-F238E27FC236}">
                <a16:creationId xmlns:a16="http://schemas.microsoft.com/office/drawing/2014/main" xmlns="" id="{9DF1D8D0-C7DD-964B-868D-B3620D0F79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E7E88607-6D3F-274B-ABC9-25FD5D466F91}"/>
              </a:ext>
            </a:extLst>
          </p:cNvPr>
          <p:cNvGrpSpPr/>
          <p:nvPr/>
        </p:nvGrpSpPr>
        <p:grpSpPr>
          <a:xfrm>
            <a:off x="803275" y="2711260"/>
            <a:ext cx="2880000" cy="2160000"/>
            <a:chOff x="803275" y="2711260"/>
            <a:chExt cx="2880000" cy="2160000"/>
          </a:xfrm>
        </p:grpSpPr>
        <p:sp>
          <p:nvSpPr>
            <p:cNvPr id="7" name="Rounded Rectangle 76">
              <a:extLst>
                <a:ext uri="{FF2B5EF4-FFF2-40B4-BE49-F238E27FC236}">
                  <a16:creationId xmlns:a16="http://schemas.microsoft.com/office/drawing/2014/main" xmlns="" id="{6B865775-3BF7-8348-9CA5-D9122BE97DF1}"/>
                </a:ext>
              </a:extLst>
            </p:cNvPr>
            <p:cNvSpPr/>
            <p:nvPr/>
          </p:nvSpPr>
          <p:spPr>
            <a:xfrm>
              <a:off x="803275" y="2711260"/>
              <a:ext cx="2880000" cy="2160000"/>
            </a:xfrm>
            <a:prstGeom prst="roundRect">
              <a:avLst>
                <a:gd name="adj" fmla="val 2450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8" name="Текст 4">
              <a:extLst>
                <a:ext uri="{FF2B5EF4-FFF2-40B4-BE49-F238E27FC236}">
                  <a16:creationId xmlns:a16="http://schemas.microsoft.com/office/drawing/2014/main" xmlns="" id="{6A1021F6-2165-E142-AC3C-7F97AAD7A331}"/>
                </a:ext>
              </a:extLst>
            </p:cNvPr>
            <p:cNvSpPr txBox="1">
              <a:spLocks/>
            </p:cNvSpPr>
            <p:nvPr/>
          </p:nvSpPr>
          <p:spPr>
            <a:xfrm>
              <a:off x="1167998" y="3103714"/>
              <a:ext cx="2150554" cy="118494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 algn="ctr">
                <a:spcAft>
                  <a:spcPts val="600"/>
                </a:spcAft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+mn-lt"/>
                </a:rPr>
                <a:t>Инженерная школа </a:t>
              </a:r>
            </a:p>
            <a:p>
              <a:pPr lvl="0" algn="ctr">
                <a:spcAft>
                  <a:spcPts val="600"/>
                </a:spcAft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+mn-lt"/>
                </a:rPr>
                <a:t>УГМК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22129C79-5CD7-134C-A90D-E29B5BD102DA}"/>
              </a:ext>
            </a:extLst>
          </p:cNvPr>
          <p:cNvGrpSpPr/>
          <p:nvPr/>
        </p:nvGrpSpPr>
        <p:grpSpPr>
          <a:xfrm>
            <a:off x="8505510" y="1347980"/>
            <a:ext cx="2880000" cy="2160000"/>
            <a:chOff x="8505510" y="1347980"/>
            <a:chExt cx="2880000" cy="2160000"/>
          </a:xfrm>
        </p:grpSpPr>
        <p:sp>
          <p:nvSpPr>
            <p:cNvPr id="12" name="Rounded Rectangle 76">
              <a:extLst>
                <a:ext uri="{FF2B5EF4-FFF2-40B4-BE49-F238E27FC236}">
                  <a16:creationId xmlns:a16="http://schemas.microsoft.com/office/drawing/2014/main" xmlns="" id="{2B9D0D6E-1B3B-1F44-B2B9-3206EB9E09C6}"/>
                </a:ext>
              </a:extLst>
            </p:cNvPr>
            <p:cNvSpPr/>
            <p:nvPr/>
          </p:nvSpPr>
          <p:spPr>
            <a:xfrm>
              <a:off x="8505510" y="134798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14715B46-A8E5-A148-9AE2-9243376E619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757689" y="1493694"/>
              <a:ext cx="2375642" cy="189282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Математика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Физика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Химия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знавательные открытые урок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едметная олимпиада УГМК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Отборочные туры </a:t>
              </a: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нженериады</a:t>
              </a: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УГМК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Т - платформа 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44EA19E2-59BF-364E-B083-B52ED22BDC8B}"/>
              </a:ext>
            </a:extLst>
          </p:cNvPr>
          <p:cNvGrpSpPr/>
          <p:nvPr/>
        </p:nvGrpSpPr>
        <p:grpSpPr>
          <a:xfrm>
            <a:off x="8505510" y="4051620"/>
            <a:ext cx="2880000" cy="2160000"/>
            <a:chOff x="8505510" y="4051620"/>
            <a:chExt cx="2880000" cy="2160000"/>
          </a:xfrm>
        </p:grpSpPr>
        <p:sp>
          <p:nvSpPr>
            <p:cNvPr id="15" name="Rounded Rectangle 76">
              <a:extLst>
                <a:ext uri="{FF2B5EF4-FFF2-40B4-BE49-F238E27FC236}">
                  <a16:creationId xmlns:a16="http://schemas.microsoft.com/office/drawing/2014/main" xmlns="" id="{2EF7EA85-247F-3C41-8D66-7DCD1F868450}"/>
                </a:ext>
              </a:extLst>
            </p:cNvPr>
            <p:cNvSpPr/>
            <p:nvPr/>
          </p:nvSpPr>
          <p:spPr>
            <a:xfrm>
              <a:off x="8505510" y="405162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BD525311-6A33-3E47-A1F4-15166189006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757689" y="4389109"/>
              <a:ext cx="2375642" cy="148502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оектные смены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Экскурси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Конкурсы, </a:t>
              </a: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квесты</a:t>
              </a:r>
              <a:endParaRPr lang="ru-RU" sz="1200" dirty="0" smtClean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нженериада</a:t>
              </a: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УГМК (финал)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Дни открытых дверей в ТУ УГМК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очие мероприятия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E72CB005-75A0-DC45-B8F6-75B1AB3360E6}"/>
              </a:ext>
            </a:extLst>
          </p:cNvPr>
          <p:cNvGrpSpPr/>
          <p:nvPr/>
        </p:nvGrpSpPr>
        <p:grpSpPr>
          <a:xfrm>
            <a:off x="4663945" y="1347980"/>
            <a:ext cx="2880000" cy="2160000"/>
            <a:chOff x="4663945" y="1347980"/>
            <a:chExt cx="2880000" cy="2160000"/>
          </a:xfrm>
        </p:grpSpPr>
        <p:sp>
          <p:nvSpPr>
            <p:cNvPr id="18" name="Rounded Rectangle 76">
              <a:extLst>
                <a:ext uri="{FF2B5EF4-FFF2-40B4-BE49-F238E27FC236}">
                  <a16:creationId xmlns:a16="http://schemas.microsoft.com/office/drawing/2014/main" xmlns="" id="{AAFA32BA-AFCD-6A4C-BFFA-C05ED8887FBA}"/>
                </a:ext>
              </a:extLst>
            </p:cNvPr>
            <p:cNvSpPr/>
            <p:nvPr/>
          </p:nvSpPr>
          <p:spPr>
            <a:xfrm>
              <a:off x="4663945" y="134798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98F6F1AB-524C-4D41-8EA4-9D5A1A90DB30}"/>
                </a:ext>
              </a:extLst>
            </p:cNvPr>
            <p:cNvSpPr txBox="1"/>
            <p:nvPr/>
          </p:nvSpPr>
          <p:spPr>
            <a:xfrm>
              <a:off x="4870473" y="2194333"/>
              <a:ext cx="2481797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lvl="0">
                <a:defRPr/>
              </a:pPr>
              <a:r>
                <a:rPr lang="ru-RU" sz="1200" dirty="0" smtClean="0">
                  <a:ea typeface="Euclid Circular A" panose="020B0504000000000000" pitchFamily="34" charset="-52"/>
                  <a:sym typeface="Arial"/>
                </a:rPr>
                <a:t>Онлайн формат мероприятий</a:t>
              </a:r>
              <a:endParaRPr lang="en-US" sz="1200" dirty="0">
                <a:ea typeface="Euclid Circular A" panose="020B0504000000000000" pitchFamily="34" charset="-52"/>
                <a:sym typeface="Arial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A22A51C5-720C-2541-B0C9-022BA7C203E0}"/>
                </a:ext>
              </a:extLst>
            </p:cNvPr>
            <p:cNvSpPr txBox="1"/>
            <p:nvPr/>
          </p:nvSpPr>
          <p:spPr>
            <a:xfrm>
              <a:off x="5554298" y="1740397"/>
              <a:ext cx="1797972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Виртуальная школа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FAD0947F-E15B-F240-A015-066A07BD8211}"/>
              </a:ext>
            </a:extLst>
          </p:cNvPr>
          <p:cNvGrpSpPr/>
          <p:nvPr/>
        </p:nvGrpSpPr>
        <p:grpSpPr>
          <a:xfrm>
            <a:off x="4663945" y="4051620"/>
            <a:ext cx="2880000" cy="2160000"/>
            <a:chOff x="4663945" y="4051620"/>
            <a:chExt cx="2880000" cy="2160000"/>
          </a:xfrm>
        </p:grpSpPr>
        <p:sp>
          <p:nvSpPr>
            <p:cNvPr id="28" name="Rounded Rectangle 76">
              <a:extLst>
                <a:ext uri="{FF2B5EF4-FFF2-40B4-BE49-F238E27FC236}">
                  <a16:creationId xmlns:a16="http://schemas.microsoft.com/office/drawing/2014/main" xmlns="" id="{D72C1F7B-CFF8-6643-ACD4-A6FA768DB757}"/>
                </a:ext>
              </a:extLst>
            </p:cNvPr>
            <p:cNvSpPr/>
            <p:nvPr/>
          </p:nvSpPr>
          <p:spPr>
            <a:xfrm>
              <a:off x="4663945" y="405162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C6AAA0FE-6F61-9241-AA74-C749B1D0991D}"/>
                </a:ext>
              </a:extLst>
            </p:cNvPr>
            <p:cNvSpPr txBox="1"/>
            <p:nvPr/>
          </p:nvSpPr>
          <p:spPr>
            <a:xfrm>
              <a:off x="4870473" y="4900462"/>
              <a:ext cx="2481797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lvl="0">
                <a:defRPr/>
              </a:pPr>
              <a:r>
                <a:rPr lang="ru-RU" sz="1200" dirty="0" smtClean="0">
                  <a:ea typeface="Euclid Circular A" panose="020B0504000000000000" pitchFamily="34" charset="-52"/>
                  <a:sym typeface="Arial"/>
                </a:rPr>
                <a:t>Очный формат мероприятий</a:t>
              </a:r>
              <a:endParaRPr lang="ru-RU" sz="1200" dirty="0">
                <a:ea typeface="Euclid Circular A" panose="020B0504000000000000" pitchFamily="34" charset="-52"/>
                <a:sym typeface="Arial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8D5FCA83-E087-7142-8980-98B486338C3C}"/>
                </a:ext>
              </a:extLst>
            </p:cNvPr>
            <p:cNvSpPr txBox="1"/>
            <p:nvPr/>
          </p:nvSpPr>
          <p:spPr>
            <a:xfrm>
              <a:off x="5554298" y="4446526"/>
              <a:ext cx="1797972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Очная школа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5125C34A-9EE4-4742-8C0E-6A580EC701AD}"/>
              </a:ext>
            </a:extLst>
          </p:cNvPr>
          <p:cNvGrpSpPr/>
          <p:nvPr/>
        </p:nvGrpSpPr>
        <p:grpSpPr>
          <a:xfrm rot="5400000">
            <a:off x="7846027" y="2305542"/>
            <a:ext cx="371579" cy="269130"/>
            <a:chOff x="1433528" y="4172580"/>
            <a:chExt cx="371579" cy="269130"/>
          </a:xfrm>
        </p:grpSpPr>
        <p:sp>
          <p:nvSpPr>
            <p:cNvPr id="33" name="Нашивка 32">
              <a:extLst>
                <a:ext uri="{FF2B5EF4-FFF2-40B4-BE49-F238E27FC236}">
                  <a16:creationId xmlns:a16="http://schemas.microsoft.com/office/drawing/2014/main" xmlns="" id="{EAA17902-B7E1-644A-9235-A255D3DD4E14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4" name="Нашивка 33">
              <a:extLst>
                <a:ext uri="{FF2B5EF4-FFF2-40B4-BE49-F238E27FC236}">
                  <a16:creationId xmlns:a16="http://schemas.microsoft.com/office/drawing/2014/main" xmlns="" id="{094FA44F-1F9A-B242-BF17-6A7F6BAD6ACC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xmlns="" id="{D6A839F8-E0AC-734A-8575-5E566C7B234E}"/>
              </a:ext>
            </a:extLst>
          </p:cNvPr>
          <p:cNvGrpSpPr/>
          <p:nvPr/>
        </p:nvGrpSpPr>
        <p:grpSpPr>
          <a:xfrm rot="5400000">
            <a:off x="7846027" y="5001242"/>
            <a:ext cx="371579" cy="269130"/>
            <a:chOff x="1433528" y="4172580"/>
            <a:chExt cx="371579" cy="269130"/>
          </a:xfrm>
        </p:grpSpPr>
        <p:sp>
          <p:nvSpPr>
            <p:cNvPr id="36" name="Нашивка 35">
              <a:extLst>
                <a:ext uri="{FF2B5EF4-FFF2-40B4-BE49-F238E27FC236}">
                  <a16:creationId xmlns:a16="http://schemas.microsoft.com/office/drawing/2014/main" xmlns="" id="{0F5FD773-5D77-9844-8F91-0E185549177C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7" name="Нашивка 36">
              <a:extLst>
                <a:ext uri="{FF2B5EF4-FFF2-40B4-BE49-F238E27FC236}">
                  <a16:creationId xmlns:a16="http://schemas.microsoft.com/office/drawing/2014/main" xmlns="" id="{25B8E98A-AAC2-4A44-B28D-E4B32D35BEA8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" name="Соединительная линия уступом 4">
            <a:extLst>
              <a:ext uri="{FF2B5EF4-FFF2-40B4-BE49-F238E27FC236}">
                <a16:creationId xmlns:a16="http://schemas.microsoft.com/office/drawing/2014/main" xmlns="" id="{04EC9207-7910-7C43-BDDA-DCF3310DB23E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3683275" y="2427980"/>
            <a:ext cx="980670" cy="136328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ная линия уступом 9">
            <a:extLst>
              <a:ext uri="{FF2B5EF4-FFF2-40B4-BE49-F238E27FC236}">
                <a16:creationId xmlns:a16="http://schemas.microsoft.com/office/drawing/2014/main" xmlns="" id="{0396D239-6DFD-F844-AF96-AF1F9D1F074F}"/>
              </a:ext>
            </a:extLst>
          </p:cNvPr>
          <p:cNvCxnSpPr>
            <a:stCxn id="7" idx="3"/>
            <a:endCxn id="28" idx="1"/>
          </p:cNvCxnSpPr>
          <p:nvPr/>
        </p:nvCxnSpPr>
        <p:spPr>
          <a:xfrm>
            <a:off x="3683275" y="3791260"/>
            <a:ext cx="980670" cy="134036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B1308176-467F-4094-B933-25344D01E8D1}"/>
              </a:ext>
            </a:extLst>
          </p:cNvPr>
          <p:cNvGrpSpPr/>
          <p:nvPr/>
        </p:nvGrpSpPr>
        <p:grpSpPr>
          <a:xfrm>
            <a:off x="4832043" y="1554375"/>
            <a:ext cx="550305" cy="550305"/>
            <a:chOff x="1714362" y="2415937"/>
            <a:chExt cx="550305" cy="550305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xmlns="" id="{A15F9628-D280-420D-A2BD-C043158941DC}"/>
                </a:ext>
              </a:extLst>
            </p:cNvPr>
            <p:cNvSpPr/>
            <p:nvPr/>
          </p:nvSpPr>
          <p:spPr>
            <a:xfrm>
              <a:off x="1714362" y="24159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0" name="Рисунок 37">
              <a:extLst>
                <a:ext uri="{FF2B5EF4-FFF2-40B4-BE49-F238E27FC236}">
                  <a16:creationId xmlns:a16="http://schemas.microsoft.com/office/drawing/2014/main" xmlns="" id="{FEA82F9F-F980-485F-A955-34AA3AFA8171}"/>
                </a:ext>
              </a:extLst>
            </p:cNvPr>
            <p:cNvGrpSpPr/>
            <p:nvPr/>
          </p:nvGrpSpPr>
          <p:grpSpPr>
            <a:xfrm>
              <a:off x="1827953" y="2528588"/>
              <a:ext cx="323117" cy="325000"/>
              <a:chOff x="1827953" y="2528588"/>
              <a:chExt cx="323117" cy="325000"/>
            </a:xfrm>
            <a:solidFill>
              <a:srgbClr val="231F20"/>
            </a:solidFill>
          </p:grpSpPr>
          <p:sp>
            <p:nvSpPr>
              <p:cNvPr id="42" name="Рисунок 37">
                <a:extLst>
                  <a:ext uri="{FF2B5EF4-FFF2-40B4-BE49-F238E27FC236}">
                    <a16:creationId xmlns:a16="http://schemas.microsoft.com/office/drawing/2014/main" xmlns="" id="{D515AD84-1B4F-47A2-8747-5B163F89F0EA}"/>
                  </a:ext>
                </a:extLst>
              </p:cNvPr>
              <p:cNvSpPr/>
              <p:nvPr/>
            </p:nvSpPr>
            <p:spPr>
              <a:xfrm>
                <a:off x="1827953" y="2528588"/>
                <a:ext cx="323117" cy="325000"/>
              </a:xfrm>
              <a:custGeom>
                <a:avLst/>
                <a:gdLst>
                  <a:gd name="connsiteX0" fmla="*/ 283504 w 323117"/>
                  <a:gd name="connsiteY0" fmla="*/ 0 h 325000"/>
                  <a:gd name="connsiteX1" fmla="*/ 39632 w 323117"/>
                  <a:gd name="connsiteY1" fmla="*/ 0 h 325000"/>
                  <a:gd name="connsiteX2" fmla="*/ 0 w 323117"/>
                  <a:gd name="connsiteY2" fmla="*/ 39632 h 325000"/>
                  <a:gd name="connsiteX3" fmla="*/ 0 w 323117"/>
                  <a:gd name="connsiteY3" fmla="*/ 207472 h 325000"/>
                  <a:gd name="connsiteX4" fmla="*/ 39632 w 323117"/>
                  <a:gd name="connsiteY4" fmla="*/ 247097 h 325000"/>
                  <a:gd name="connsiteX5" fmla="*/ 126277 w 323117"/>
                  <a:gd name="connsiteY5" fmla="*/ 247097 h 325000"/>
                  <a:gd name="connsiteX6" fmla="*/ 126277 w 323117"/>
                  <a:gd name="connsiteY6" fmla="*/ 314201 h 325000"/>
                  <a:gd name="connsiteX7" fmla="*/ 59119 w 323117"/>
                  <a:gd name="connsiteY7" fmla="*/ 314201 h 325000"/>
                  <a:gd name="connsiteX8" fmla="*/ 53719 w 323117"/>
                  <a:gd name="connsiteY8" fmla="*/ 319601 h 325000"/>
                  <a:gd name="connsiteX9" fmla="*/ 59119 w 323117"/>
                  <a:gd name="connsiteY9" fmla="*/ 325001 h 325000"/>
                  <a:gd name="connsiteX10" fmla="*/ 131677 w 323117"/>
                  <a:gd name="connsiteY10" fmla="*/ 325001 h 325000"/>
                  <a:gd name="connsiteX11" fmla="*/ 191455 w 323117"/>
                  <a:gd name="connsiteY11" fmla="*/ 325001 h 325000"/>
                  <a:gd name="connsiteX12" fmla="*/ 264013 w 323117"/>
                  <a:gd name="connsiteY12" fmla="*/ 325001 h 325000"/>
                  <a:gd name="connsiteX13" fmla="*/ 269413 w 323117"/>
                  <a:gd name="connsiteY13" fmla="*/ 319601 h 325000"/>
                  <a:gd name="connsiteX14" fmla="*/ 264013 w 323117"/>
                  <a:gd name="connsiteY14" fmla="*/ 314201 h 325000"/>
                  <a:gd name="connsiteX15" fmla="*/ 196855 w 323117"/>
                  <a:gd name="connsiteY15" fmla="*/ 314201 h 325000"/>
                  <a:gd name="connsiteX16" fmla="*/ 196855 w 323117"/>
                  <a:gd name="connsiteY16" fmla="*/ 247097 h 325000"/>
                  <a:gd name="connsiteX17" fmla="*/ 283500 w 323117"/>
                  <a:gd name="connsiteY17" fmla="*/ 247097 h 325000"/>
                  <a:gd name="connsiteX18" fmla="*/ 323118 w 323117"/>
                  <a:gd name="connsiteY18" fmla="*/ 207472 h 325000"/>
                  <a:gd name="connsiteX19" fmla="*/ 323118 w 323117"/>
                  <a:gd name="connsiteY19" fmla="*/ 39632 h 325000"/>
                  <a:gd name="connsiteX20" fmla="*/ 283504 w 323117"/>
                  <a:gd name="connsiteY20" fmla="*/ 0 h 325000"/>
                  <a:gd name="connsiteX21" fmla="*/ 39632 w 323117"/>
                  <a:gd name="connsiteY21" fmla="*/ 10800 h 325000"/>
                  <a:gd name="connsiteX22" fmla="*/ 283504 w 323117"/>
                  <a:gd name="connsiteY22" fmla="*/ 10800 h 325000"/>
                  <a:gd name="connsiteX23" fmla="*/ 312322 w 323117"/>
                  <a:gd name="connsiteY23" fmla="*/ 39632 h 325000"/>
                  <a:gd name="connsiteX24" fmla="*/ 312322 w 323117"/>
                  <a:gd name="connsiteY24" fmla="*/ 166892 h 325000"/>
                  <a:gd name="connsiteX25" fmla="*/ 10804 w 323117"/>
                  <a:gd name="connsiteY25" fmla="*/ 166892 h 325000"/>
                  <a:gd name="connsiteX26" fmla="*/ 10804 w 323117"/>
                  <a:gd name="connsiteY26" fmla="*/ 39632 h 325000"/>
                  <a:gd name="connsiteX27" fmla="*/ 39632 w 323117"/>
                  <a:gd name="connsiteY27" fmla="*/ 10800 h 325000"/>
                  <a:gd name="connsiteX28" fmla="*/ 186059 w 323117"/>
                  <a:gd name="connsiteY28" fmla="*/ 314201 h 325000"/>
                  <a:gd name="connsiteX29" fmla="*/ 137081 w 323117"/>
                  <a:gd name="connsiteY29" fmla="*/ 314201 h 325000"/>
                  <a:gd name="connsiteX30" fmla="*/ 137081 w 323117"/>
                  <a:gd name="connsiteY30" fmla="*/ 247097 h 325000"/>
                  <a:gd name="connsiteX31" fmla="*/ 186059 w 323117"/>
                  <a:gd name="connsiteY31" fmla="*/ 247097 h 325000"/>
                  <a:gd name="connsiteX32" fmla="*/ 186059 w 323117"/>
                  <a:gd name="connsiteY32" fmla="*/ 314201 h 325000"/>
                  <a:gd name="connsiteX33" fmla="*/ 283504 w 323117"/>
                  <a:gd name="connsiteY33" fmla="*/ 236297 h 325000"/>
                  <a:gd name="connsiteX34" fmla="*/ 191459 w 323117"/>
                  <a:gd name="connsiteY34" fmla="*/ 236297 h 325000"/>
                  <a:gd name="connsiteX35" fmla="*/ 131681 w 323117"/>
                  <a:gd name="connsiteY35" fmla="*/ 236297 h 325000"/>
                  <a:gd name="connsiteX36" fmla="*/ 39636 w 323117"/>
                  <a:gd name="connsiteY36" fmla="*/ 236297 h 325000"/>
                  <a:gd name="connsiteX37" fmla="*/ 10804 w 323117"/>
                  <a:gd name="connsiteY37" fmla="*/ 207472 h 325000"/>
                  <a:gd name="connsiteX38" fmla="*/ 10804 w 323117"/>
                  <a:gd name="connsiteY38" fmla="*/ 177696 h 325000"/>
                  <a:gd name="connsiteX39" fmla="*/ 312322 w 323117"/>
                  <a:gd name="connsiteY39" fmla="*/ 177696 h 325000"/>
                  <a:gd name="connsiteX40" fmla="*/ 312322 w 323117"/>
                  <a:gd name="connsiteY40" fmla="*/ 207472 h 325000"/>
                  <a:gd name="connsiteX41" fmla="*/ 283504 w 323117"/>
                  <a:gd name="connsiteY41" fmla="*/ 236297 h 32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323117" h="325000">
                    <a:moveTo>
                      <a:pt x="283504" y="0"/>
                    </a:moveTo>
                    <a:lnTo>
                      <a:pt x="39632" y="0"/>
                    </a:lnTo>
                    <a:cubicBezTo>
                      <a:pt x="17780" y="0"/>
                      <a:pt x="0" y="17780"/>
                      <a:pt x="0" y="39632"/>
                    </a:cubicBezTo>
                    <a:lnTo>
                      <a:pt x="0" y="207472"/>
                    </a:lnTo>
                    <a:cubicBezTo>
                      <a:pt x="0" y="229320"/>
                      <a:pt x="17777" y="247097"/>
                      <a:pt x="39632" y="247097"/>
                    </a:cubicBezTo>
                    <a:lnTo>
                      <a:pt x="126277" y="247097"/>
                    </a:lnTo>
                    <a:lnTo>
                      <a:pt x="126277" y="314201"/>
                    </a:lnTo>
                    <a:lnTo>
                      <a:pt x="59119" y="314201"/>
                    </a:lnTo>
                    <a:cubicBezTo>
                      <a:pt x="56135" y="314201"/>
                      <a:pt x="53719" y="316616"/>
                      <a:pt x="53719" y="319601"/>
                    </a:cubicBezTo>
                    <a:cubicBezTo>
                      <a:pt x="53719" y="322585"/>
                      <a:pt x="56135" y="325001"/>
                      <a:pt x="59119" y="325001"/>
                    </a:cubicBezTo>
                    <a:lnTo>
                      <a:pt x="131677" y="325001"/>
                    </a:lnTo>
                    <a:lnTo>
                      <a:pt x="191455" y="325001"/>
                    </a:lnTo>
                    <a:lnTo>
                      <a:pt x="264013" y="325001"/>
                    </a:lnTo>
                    <a:cubicBezTo>
                      <a:pt x="266998" y="325001"/>
                      <a:pt x="269413" y="322585"/>
                      <a:pt x="269413" y="319601"/>
                    </a:cubicBezTo>
                    <a:cubicBezTo>
                      <a:pt x="269413" y="316616"/>
                      <a:pt x="266998" y="314201"/>
                      <a:pt x="264013" y="314201"/>
                    </a:cubicBezTo>
                    <a:lnTo>
                      <a:pt x="196855" y="314201"/>
                    </a:lnTo>
                    <a:lnTo>
                      <a:pt x="196855" y="247097"/>
                    </a:lnTo>
                    <a:lnTo>
                      <a:pt x="283500" y="247097"/>
                    </a:lnTo>
                    <a:cubicBezTo>
                      <a:pt x="305345" y="247097"/>
                      <a:pt x="323118" y="229320"/>
                      <a:pt x="323118" y="207472"/>
                    </a:cubicBezTo>
                    <a:lnTo>
                      <a:pt x="323118" y="39632"/>
                    </a:lnTo>
                    <a:cubicBezTo>
                      <a:pt x="323122" y="17780"/>
                      <a:pt x="305348" y="0"/>
                      <a:pt x="283504" y="0"/>
                    </a:cubicBezTo>
                    <a:close/>
                    <a:moveTo>
                      <a:pt x="39632" y="10800"/>
                    </a:moveTo>
                    <a:lnTo>
                      <a:pt x="283504" y="10800"/>
                    </a:lnTo>
                    <a:cubicBezTo>
                      <a:pt x="299394" y="10800"/>
                      <a:pt x="312322" y="23735"/>
                      <a:pt x="312322" y="39632"/>
                    </a:cubicBezTo>
                    <a:lnTo>
                      <a:pt x="312322" y="166892"/>
                    </a:lnTo>
                    <a:lnTo>
                      <a:pt x="10804" y="166892"/>
                    </a:lnTo>
                    <a:lnTo>
                      <a:pt x="10804" y="39632"/>
                    </a:lnTo>
                    <a:cubicBezTo>
                      <a:pt x="10804" y="23731"/>
                      <a:pt x="23735" y="10800"/>
                      <a:pt x="39632" y="10800"/>
                    </a:cubicBezTo>
                    <a:close/>
                    <a:moveTo>
                      <a:pt x="186059" y="314201"/>
                    </a:moveTo>
                    <a:lnTo>
                      <a:pt x="137081" y="314201"/>
                    </a:lnTo>
                    <a:lnTo>
                      <a:pt x="137081" y="247097"/>
                    </a:lnTo>
                    <a:lnTo>
                      <a:pt x="186059" y="247097"/>
                    </a:lnTo>
                    <a:lnTo>
                      <a:pt x="186059" y="314201"/>
                    </a:lnTo>
                    <a:close/>
                    <a:moveTo>
                      <a:pt x="283504" y="236297"/>
                    </a:moveTo>
                    <a:lnTo>
                      <a:pt x="191459" y="236297"/>
                    </a:lnTo>
                    <a:lnTo>
                      <a:pt x="131681" y="236297"/>
                    </a:lnTo>
                    <a:lnTo>
                      <a:pt x="39636" y="236297"/>
                    </a:lnTo>
                    <a:cubicBezTo>
                      <a:pt x="23738" y="236297"/>
                      <a:pt x="10804" y="223366"/>
                      <a:pt x="10804" y="207472"/>
                    </a:cubicBezTo>
                    <a:lnTo>
                      <a:pt x="10804" y="177696"/>
                    </a:lnTo>
                    <a:lnTo>
                      <a:pt x="312322" y="177696"/>
                    </a:lnTo>
                    <a:lnTo>
                      <a:pt x="312322" y="207472"/>
                    </a:lnTo>
                    <a:cubicBezTo>
                      <a:pt x="312322" y="223366"/>
                      <a:pt x="299394" y="236297"/>
                      <a:pt x="283504" y="236297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Рисунок 37">
                <a:extLst>
                  <a:ext uri="{FF2B5EF4-FFF2-40B4-BE49-F238E27FC236}">
                    <a16:creationId xmlns:a16="http://schemas.microsoft.com/office/drawing/2014/main" xmlns="" id="{B702F7D4-3CA7-4EFE-BC11-2AA27C8CE6AD}"/>
                  </a:ext>
                </a:extLst>
              </p:cNvPr>
              <p:cNvSpPr/>
              <p:nvPr/>
            </p:nvSpPr>
            <p:spPr>
              <a:xfrm>
                <a:off x="1969303" y="2716487"/>
                <a:ext cx="40420" cy="40406"/>
              </a:xfrm>
              <a:custGeom>
                <a:avLst/>
                <a:gdLst>
                  <a:gd name="connsiteX0" fmla="*/ 20218 w 40420"/>
                  <a:gd name="connsiteY0" fmla="*/ 0 h 40406"/>
                  <a:gd name="connsiteX1" fmla="*/ 0 w 40420"/>
                  <a:gd name="connsiteY1" fmla="*/ 20203 h 40406"/>
                  <a:gd name="connsiteX2" fmla="*/ 20218 w 40420"/>
                  <a:gd name="connsiteY2" fmla="*/ 40406 h 40406"/>
                  <a:gd name="connsiteX3" fmla="*/ 40421 w 40420"/>
                  <a:gd name="connsiteY3" fmla="*/ 20203 h 40406"/>
                  <a:gd name="connsiteX4" fmla="*/ 20218 w 40420"/>
                  <a:gd name="connsiteY4" fmla="*/ 0 h 40406"/>
                  <a:gd name="connsiteX5" fmla="*/ 20218 w 40420"/>
                  <a:gd name="connsiteY5" fmla="*/ 29606 h 40406"/>
                  <a:gd name="connsiteX6" fmla="*/ 10800 w 40420"/>
                  <a:gd name="connsiteY6" fmla="*/ 20203 h 40406"/>
                  <a:gd name="connsiteX7" fmla="*/ 20218 w 40420"/>
                  <a:gd name="connsiteY7" fmla="*/ 10800 h 40406"/>
                  <a:gd name="connsiteX8" fmla="*/ 29621 w 40420"/>
                  <a:gd name="connsiteY8" fmla="*/ 20203 h 40406"/>
                  <a:gd name="connsiteX9" fmla="*/ 20218 w 40420"/>
                  <a:gd name="connsiteY9" fmla="*/ 29606 h 4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420" h="40406">
                    <a:moveTo>
                      <a:pt x="20218" y="0"/>
                    </a:moveTo>
                    <a:cubicBezTo>
                      <a:pt x="9068" y="0"/>
                      <a:pt x="0" y="9065"/>
                      <a:pt x="0" y="20203"/>
                    </a:cubicBezTo>
                    <a:cubicBezTo>
                      <a:pt x="0" y="31342"/>
                      <a:pt x="9068" y="40406"/>
                      <a:pt x="20218" y="40406"/>
                    </a:cubicBezTo>
                    <a:cubicBezTo>
                      <a:pt x="31360" y="40406"/>
                      <a:pt x="40421" y="31342"/>
                      <a:pt x="40421" y="20203"/>
                    </a:cubicBezTo>
                    <a:cubicBezTo>
                      <a:pt x="40421" y="9065"/>
                      <a:pt x="31360" y="0"/>
                      <a:pt x="20218" y="0"/>
                    </a:cubicBezTo>
                    <a:close/>
                    <a:moveTo>
                      <a:pt x="20218" y="29606"/>
                    </a:moveTo>
                    <a:cubicBezTo>
                      <a:pt x="15026" y="29606"/>
                      <a:pt x="10800" y="25387"/>
                      <a:pt x="10800" y="20203"/>
                    </a:cubicBezTo>
                    <a:cubicBezTo>
                      <a:pt x="10800" y="15019"/>
                      <a:pt x="15023" y="10800"/>
                      <a:pt x="20218" y="10800"/>
                    </a:cubicBezTo>
                    <a:cubicBezTo>
                      <a:pt x="25402" y="10800"/>
                      <a:pt x="29621" y="15019"/>
                      <a:pt x="29621" y="20203"/>
                    </a:cubicBezTo>
                    <a:cubicBezTo>
                      <a:pt x="29621" y="25387"/>
                      <a:pt x="25402" y="29606"/>
                      <a:pt x="20218" y="29606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xmlns="" id="{A8069EEB-536F-44B8-91EB-AAEA6643D420}"/>
              </a:ext>
            </a:extLst>
          </p:cNvPr>
          <p:cNvGrpSpPr/>
          <p:nvPr/>
        </p:nvGrpSpPr>
        <p:grpSpPr>
          <a:xfrm>
            <a:off x="4832039" y="4263706"/>
            <a:ext cx="550305" cy="550305"/>
            <a:chOff x="2640229" y="5016400"/>
            <a:chExt cx="550305" cy="550305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xmlns="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6" name="Рисунок 86">
              <a:extLst>
                <a:ext uri="{FF2B5EF4-FFF2-40B4-BE49-F238E27FC236}">
                  <a16:creationId xmlns:a16="http://schemas.microsoft.com/office/drawing/2014/main" xmlns="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52" name="Рисунок 86">
                <a:extLst>
                  <a:ext uri="{FF2B5EF4-FFF2-40B4-BE49-F238E27FC236}">
                    <a16:creationId xmlns:a16="http://schemas.microsoft.com/office/drawing/2014/main" xmlns="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Рисунок 86">
                <a:extLst>
                  <a:ext uri="{FF2B5EF4-FFF2-40B4-BE49-F238E27FC236}">
                    <a16:creationId xmlns:a16="http://schemas.microsoft.com/office/drawing/2014/main" xmlns="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Рисунок 86">
                <a:extLst>
                  <a:ext uri="{FF2B5EF4-FFF2-40B4-BE49-F238E27FC236}">
                    <a16:creationId xmlns:a16="http://schemas.microsoft.com/office/drawing/2014/main" xmlns="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201440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xmlns="" id="{DB5BFB53-1CF7-4949-91D7-133BA0254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p:oleObj spid="_x0000_s52249" name="Слайд think-cell" r:id="rId4" imgW="7761960" imgH="100479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E965CCE-13E3-144C-B0A3-01033C01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Эффект</a:t>
            </a:r>
            <a:endParaRPr lang="ru-RU" dirty="0"/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xmlns="" id="{810D648A-EB12-5442-A099-B487F38E29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587CC7E4-E3C5-F742-9555-BE46CA575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</p:spPr>
        <p:txBody>
          <a:bodyPr/>
          <a:lstStyle/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0FBDAF3B-D2AE-4C4E-BF90-8F947615DFF6}"/>
              </a:ext>
            </a:extLst>
          </p:cNvPr>
          <p:cNvGrpSpPr/>
          <p:nvPr/>
        </p:nvGrpSpPr>
        <p:grpSpPr>
          <a:xfrm>
            <a:off x="812115" y="3387300"/>
            <a:ext cx="3519985" cy="2060524"/>
            <a:chOff x="812115" y="3387300"/>
            <a:chExt cx="3519985" cy="206052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xmlns="" id="{451C29C4-0255-574D-AFB9-6A2DB44967D0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16527" y="3662720"/>
              <a:ext cx="3515573" cy="178510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вышение качественного уровня подготовки абитуриентов</a:t>
              </a:r>
            </a:p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вышение мотивации у школьников работать в организациях Компании после получения соответствующего образования</a:t>
              </a:r>
            </a:p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Создание во всех регионах присутствия УГМК единых принципов ведения работы со школьниками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DCEC277B-5FC2-8D4A-B2D7-D8A37C550A63}"/>
                </a:ext>
              </a:extLst>
            </p:cNvPr>
            <p:cNvSpPr/>
            <p:nvPr/>
          </p:nvSpPr>
          <p:spPr>
            <a:xfrm>
              <a:off x="812115" y="3387300"/>
              <a:ext cx="2328266" cy="215444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/>
            <a:p>
              <a:pPr>
                <a:spcBef>
                  <a:spcPts val="1200"/>
                </a:spcBef>
              </a:pPr>
              <a:r>
                <a:rPr lang="ru-RU" sz="1400" b="1" dirty="0" smtClean="0"/>
                <a:t>Планируемые результаты</a:t>
              </a:r>
              <a:endParaRPr lang="ru-RU" sz="1400" b="1" dirty="0"/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2C89D5C2-0288-9847-AAD4-3832335E036E}"/>
              </a:ext>
            </a:extLst>
          </p:cNvPr>
          <p:cNvGrpSpPr/>
          <p:nvPr/>
        </p:nvGrpSpPr>
        <p:grpSpPr>
          <a:xfrm>
            <a:off x="8523875" y="1088620"/>
            <a:ext cx="2864855" cy="2071946"/>
            <a:chOff x="8523875" y="1088620"/>
            <a:chExt cx="2864855" cy="2071946"/>
          </a:xfrm>
        </p:grpSpPr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xmlns="" id="{240226A7-6180-8F4B-BC69-D4C79415D25F}"/>
                </a:ext>
              </a:extLst>
            </p:cNvPr>
            <p:cNvSpPr/>
            <p:nvPr/>
          </p:nvSpPr>
          <p:spPr>
            <a:xfrm rot="16200000">
              <a:off x="9043999" y="600486"/>
              <a:ext cx="1856598" cy="2832865"/>
            </a:xfrm>
            <a:custGeom>
              <a:avLst/>
              <a:gdLst>
                <a:gd name="connsiteX0" fmla="*/ 1173679 w 1173679"/>
                <a:gd name="connsiteY0" fmla="*/ 0 h 2293659"/>
                <a:gd name="connsiteX1" fmla="*/ 1173678 w 1173679"/>
                <a:gd name="connsiteY1" fmla="*/ 2293659 h 2293659"/>
                <a:gd name="connsiteX2" fmla="*/ 1173676 w 1173679"/>
                <a:gd name="connsiteY2" fmla="*/ 2293659 h 2293659"/>
                <a:gd name="connsiteX3" fmla="*/ 586840 w 1173679"/>
                <a:gd name="connsiteY3" fmla="*/ 1755139 h 2293659"/>
                <a:gd name="connsiteX4" fmla="*/ 3 w 1173679"/>
                <a:gd name="connsiteY4" fmla="*/ 2293659 h 2293659"/>
                <a:gd name="connsiteX5" fmla="*/ 0 w 1173679"/>
                <a:gd name="connsiteY5" fmla="*/ 2293659 h 2293659"/>
                <a:gd name="connsiteX6" fmla="*/ 1 w 1173679"/>
                <a:gd name="connsiteY6" fmla="*/ 0 h 2293659"/>
                <a:gd name="connsiteX7" fmla="*/ 1173679 w 1173679"/>
                <a:gd name="connsiteY7" fmla="*/ 0 h 2293659"/>
                <a:gd name="connsiteX0" fmla="*/ 1173679 w 1173679"/>
                <a:gd name="connsiteY0" fmla="*/ 0 h 2293659"/>
                <a:gd name="connsiteX1" fmla="*/ 1173678 w 1173679"/>
                <a:gd name="connsiteY1" fmla="*/ 2293659 h 2293659"/>
                <a:gd name="connsiteX2" fmla="*/ 1173676 w 1173679"/>
                <a:gd name="connsiteY2" fmla="*/ 2293659 h 2293659"/>
                <a:gd name="connsiteX3" fmla="*/ 586842 w 1173679"/>
                <a:gd name="connsiteY3" fmla="*/ 1989888 h 2293659"/>
                <a:gd name="connsiteX4" fmla="*/ 3 w 1173679"/>
                <a:gd name="connsiteY4" fmla="*/ 2293659 h 2293659"/>
                <a:gd name="connsiteX5" fmla="*/ 0 w 1173679"/>
                <a:gd name="connsiteY5" fmla="*/ 2293659 h 2293659"/>
                <a:gd name="connsiteX6" fmla="*/ 1 w 1173679"/>
                <a:gd name="connsiteY6" fmla="*/ 0 h 2293659"/>
                <a:gd name="connsiteX7" fmla="*/ 1173679 w 1173679"/>
                <a:gd name="connsiteY7" fmla="*/ 0 h 229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3679" h="2293659">
                  <a:moveTo>
                    <a:pt x="1173679" y="0"/>
                  </a:moveTo>
                  <a:cubicBezTo>
                    <a:pt x="1173679" y="764553"/>
                    <a:pt x="1173678" y="1529106"/>
                    <a:pt x="1173678" y="2293659"/>
                  </a:cubicBezTo>
                  <a:lnTo>
                    <a:pt x="1173676" y="2293659"/>
                  </a:lnTo>
                  <a:lnTo>
                    <a:pt x="586842" y="1989888"/>
                  </a:lnTo>
                  <a:lnTo>
                    <a:pt x="3" y="2293659"/>
                  </a:lnTo>
                  <a:lnTo>
                    <a:pt x="0" y="2293659"/>
                  </a:lnTo>
                  <a:cubicBezTo>
                    <a:pt x="0" y="1529106"/>
                    <a:pt x="1" y="764553"/>
                    <a:pt x="1" y="0"/>
                  </a:cubicBezTo>
                  <a:lnTo>
                    <a:pt x="1173679" y="0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/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xmlns="" id="{A66EED39-D3BA-8F4E-8FA0-4BBA35DB622F}"/>
                </a:ext>
              </a:extLst>
            </p:cNvPr>
            <p:cNvCxnSpPr>
              <a:cxnSpLocks/>
            </p:cNvCxnSpPr>
            <p:nvPr/>
          </p:nvCxnSpPr>
          <p:spPr>
            <a:xfrm>
              <a:off x="8523875" y="1089025"/>
              <a:ext cx="0" cy="2071541"/>
            </a:xfrm>
            <a:prstGeom prst="line">
              <a:avLst/>
            </a:prstGeom>
            <a:ln w="698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F0FAE5ED-4B39-9644-89AB-25A3A71DA4BC}"/>
                </a:ext>
              </a:extLst>
            </p:cNvPr>
            <p:cNvSpPr txBox="1"/>
            <p:nvPr/>
          </p:nvSpPr>
          <p:spPr>
            <a:xfrm>
              <a:off x="8850942" y="1526104"/>
              <a:ext cx="1862808" cy="92333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 smtClean="0"/>
                <a:t>Цель:</a:t>
              </a:r>
              <a:endParaRPr lang="ru-RU" sz="1200" b="1" dirty="0"/>
            </a:p>
            <a:p>
              <a:pPr algn="ctr"/>
              <a:r>
                <a:rPr lang="ru-RU" sz="1200" dirty="0" smtClean="0"/>
                <a:t>100-130 выпускников ежегодно трудоустраиваются в организации УГМК</a:t>
              </a:r>
              <a:endParaRPr lang="ru-RU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844524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735" r="7735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03275" y="2201029"/>
            <a:ext cx="4031482" cy="2215991"/>
          </a:xfrm>
        </p:spPr>
        <p:txBody>
          <a:bodyPr/>
          <a:lstStyle/>
          <a:p>
            <a:r>
              <a:rPr lang="ru-RU" dirty="0"/>
              <a:t>Отбор в Инженерную школу УГМК 2021-22 </a:t>
            </a:r>
            <a:r>
              <a:rPr lang="ru-RU" dirty="0" err="1"/>
              <a:t>уч.г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89916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>
            <a:extLst>
              <a:ext uri="{FF2B5EF4-FFF2-40B4-BE49-F238E27FC236}">
                <a16:creationId xmlns:a16="http://schemas.microsoft.com/office/drawing/2014/main" xmlns="" id="{8BDA3A87-B88B-458C-BE52-841658682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/>
          <a:lstStyle/>
          <a:p>
            <a:pPr algn="ctr"/>
            <a:r>
              <a:rPr lang="ru-RU" dirty="0"/>
              <a:t>Матрица программ и мероприятий </a:t>
            </a:r>
            <a:br>
              <a:rPr lang="ru-RU" dirty="0"/>
            </a:br>
            <a:r>
              <a:rPr lang="ru-RU" dirty="0"/>
              <a:t>Инженерной школы УГМК 2022 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02FB9248-E049-4357-A9CB-A7650FBB0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16" name="Схема 15">
            <a:extLst>
              <a:ext uri="{FF2B5EF4-FFF2-40B4-BE49-F238E27FC236}">
                <a16:creationId xmlns:a16="http://schemas.microsoft.com/office/drawing/2014/main" xmlns="" id="{C0788F05-A63C-4E9B-B0F8-D7160028AD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890689412"/>
              </p:ext>
            </p:extLst>
          </p:nvPr>
        </p:nvGraphicFramePr>
        <p:xfrm>
          <a:off x="345370" y="1241370"/>
          <a:ext cx="11541830" cy="51183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546260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>
            <a:extLst>
              <a:ext uri="{FF2B5EF4-FFF2-40B4-BE49-F238E27FC236}">
                <a16:creationId xmlns:a16="http://schemas.microsoft.com/office/drawing/2014/main" xmlns="" id="{8BDA3A87-B88B-458C-BE52-841658682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/>
          <a:lstStyle/>
          <a:p>
            <a:pPr algn="ctr"/>
            <a:r>
              <a:rPr lang="ru-RU" dirty="0"/>
              <a:t>План-график программ и мероприятий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Инженерной школы УГМК 2022 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02FB9248-E049-4357-A9CB-A7650FBB0B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xmlns="" id="{E4FFDB3C-35E8-45D3-9E2F-FAEBF9B80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37405656"/>
              </p:ext>
            </p:extLst>
          </p:nvPr>
        </p:nvGraphicFramePr>
        <p:xfrm>
          <a:off x="369651" y="1177749"/>
          <a:ext cx="11498099" cy="561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0085">
                  <a:extLst>
                    <a:ext uri="{9D8B030D-6E8A-4147-A177-3AD203B41FA5}">
                      <a16:colId xmlns:a16="http://schemas.microsoft.com/office/drawing/2014/main" xmlns="" val="3334258089"/>
                    </a:ext>
                  </a:extLst>
                </a:gridCol>
                <a:gridCol w="693907">
                  <a:extLst>
                    <a:ext uri="{9D8B030D-6E8A-4147-A177-3AD203B41FA5}">
                      <a16:colId xmlns:a16="http://schemas.microsoft.com/office/drawing/2014/main" xmlns="" val="261161656"/>
                    </a:ext>
                  </a:extLst>
                </a:gridCol>
                <a:gridCol w="726331">
                  <a:extLst>
                    <a:ext uri="{9D8B030D-6E8A-4147-A177-3AD203B41FA5}">
                      <a16:colId xmlns:a16="http://schemas.microsoft.com/office/drawing/2014/main" xmlns="" val="2876634459"/>
                    </a:ext>
                  </a:extLst>
                </a:gridCol>
                <a:gridCol w="726332">
                  <a:extLst>
                    <a:ext uri="{9D8B030D-6E8A-4147-A177-3AD203B41FA5}">
                      <a16:colId xmlns:a16="http://schemas.microsoft.com/office/drawing/2014/main" xmlns="" val="3544244901"/>
                    </a:ext>
                  </a:extLst>
                </a:gridCol>
                <a:gridCol w="713362">
                  <a:extLst>
                    <a:ext uri="{9D8B030D-6E8A-4147-A177-3AD203B41FA5}">
                      <a16:colId xmlns:a16="http://schemas.microsoft.com/office/drawing/2014/main" xmlns="" val="494129994"/>
                    </a:ext>
                  </a:extLst>
                </a:gridCol>
                <a:gridCol w="726332">
                  <a:extLst>
                    <a:ext uri="{9D8B030D-6E8A-4147-A177-3AD203B41FA5}">
                      <a16:colId xmlns:a16="http://schemas.microsoft.com/office/drawing/2014/main" xmlns="" val="3090310176"/>
                    </a:ext>
                  </a:extLst>
                </a:gridCol>
                <a:gridCol w="719847">
                  <a:extLst>
                    <a:ext uri="{9D8B030D-6E8A-4147-A177-3AD203B41FA5}">
                      <a16:colId xmlns:a16="http://schemas.microsoft.com/office/drawing/2014/main" xmlns="" val="2636133643"/>
                    </a:ext>
                  </a:extLst>
                </a:gridCol>
                <a:gridCol w="719847">
                  <a:extLst>
                    <a:ext uri="{9D8B030D-6E8A-4147-A177-3AD203B41FA5}">
                      <a16:colId xmlns:a16="http://schemas.microsoft.com/office/drawing/2014/main" xmlns="" val="1668788813"/>
                    </a:ext>
                  </a:extLst>
                </a:gridCol>
                <a:gridCol w="726332">
                  <a:extLst>
                    <a:ext uri="{9D8B030D-6E8A-4147-A177-3AD203B41FA5}">
                      <a16:colId xmlns:a16="http://schemas.microsoft.com/office/drawing/2014/main" xmlns="" val="3674966446"/>
                    </a:ext>
                  </a:extLst>
                </a:gridCol>
                <a:gridCol w="713361">
                  <a:extLst>
                    <a:ext uri="{9D8B030D-6E8A-4147-A177-3AD203B41FA5}">
                      <a16:colId xmlns:a16="http://schemas.microsoft.com/office/drawing/2014/main" xmlns="" val="1217026116"/>
                    </a:ext>
                  </a:extLst>
                </a:gridCol>
                <a:gridCol w="726332">
                  <a:extLst>
                    <a:ext uri="{9D8B030D-6E8A-4147-A177-3AD203B41FA5}">
                      <a16:colId xmlns:a16="http://schemas.microsoft.com/office/drawing/2014/main" xmlns="" val="667784166"/>
                    </a:ext>
                  </a:extLst>
                </a:gridCol>
                <a:gridCol w="719847">
                  <a:extLst>
                    <a:ext uri="{9D8B030D-6E8A-4147-A177-3AD203B41FA5}">
                      <a16:colId xmlns:a16="http://schemas.microsoft.com/office/drawing/2014/main" xmlns="" val="525194352"/>
                    </a:ext>
                  </a:extLst>
                </a:gridCol>
                <a:gridCol w="713362">
                  <a:extLst>
                    <a:ext uri="{9D8B030D-6E8A-4147-A177-3AD203B41FA5}">
                      <a16:colId xmlns:a16="http://schemas.microsoft.com/office/drawing/2014/main" xmlns="" val="2776215336"/>
                    </a:ext>
                  </a:extLst>
                </a:gridCol>
                <a:gridCol w="732822">
                  <a:extLst>
                    <a:ext uri="{9D8B030D-6E8A-4147-A177-3AD203B41FA5}">
                      <a16:colId xmlns:a16="http://schemas.microsoft.com/office/drawing/2014/main" xmlns="" val="99898414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II</a:t>
                      </a:r>
                      <a:r>
                        <a:rPr lang="ru-RU" sz="1400" dirty="0"/>
                        <a:t> 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I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II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V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I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II.</a:t>
                      </a:r>
                      <a:r>
                        <a:rPr lang="ru-RU" sz="1600" dirty="0"/>
                        <a:t>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VIII.22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IX.22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X.22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XI.22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XII.22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615212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Конкурсный отбор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534223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Цифровая диагности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1791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Предметные </a:t>
                      </a:r>
                      <a:r>
                        <a:rPr lang="ru-RU" sz="1600" dirty="0" err="1"/>
                        <a:t>обр.программы</a:t>
                      </a:r>
                      <a:r>
                        <a:rPr lang="ru-RU" sz="1600" dirty="0"/>
                        <a:t> 7-10 класс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00FF00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86968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Подготовка к ЕГЭ 11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546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Проектная программ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932859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Профориентационные мероприяти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532361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Предметная олимпиада УГМК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72219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Отборочный тур </a:t>
                      </a:r>
                      <a:r>
                        <a:rPr lang="ru-RU" sz="1600" dirty="0" err="1"/>
                        <a:t>Инженериады</a:t>
                      </a:r>
                      <a:r>
                        <a:rPr lang="ru-RU" sz="1600" dirty="0"/>
                        <a:t> УГМК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23725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/>
                        <a:t>Очная проектная программ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>
                        <a:highlight>
                          <a:srgbClr val="FFFFFF"/>
                        </a:highlight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98459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934150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41">
      <a:dk1>
        <a:srgbClr val="000000"/>
      </a:dk1>
      <a:lt1>
        <a:srgbClr val="FFFFFF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 anchor="t">
        <a:spAutoFit/>
      </a:bodyPr>
      <a:lstStyle>
        <a:defPPr algn="l">
          <a:defRPr sz="12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FF11B57AF927E48A713F8B75CFE1B46" ma:contentTypeVersion="0" ma:contentTypeDescription="Создание документа." ma:contentTypeScope="" ma:versionID="806c17182c6caab74b330c4544faf8f6">
  <xsd:schema xmlns:xsd="http://www.w3.org/2001/XMLSchema" xmlns:xs="http://www.w3.org/2001/XMLSchema" xmlns:p="http://schemas.microsoft.com/office/2006/metadata/properties" xmlns:ns2="2eb23eb2-4919-4bd4-b5be-0d6d4eb9c3d7" targetNamespace="http://schemas.microsoft.com/office/2006/metadata/properties" ma:root="true" ma:fieldsID="9a03c2cbe4aa3cf1f9477f399a9634a0" ns2:_="">
    <xsd:import namespace="2eb23eb2-4919-4bd4-b5be-0d6d4eb9c3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23eb2-4919-4bd4-b5be-0d6d4eb9c3d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eb23eb2-4919-4bd4-b5be-0d6d4eb9c3d7">YHEFWEUWANX7-343-3</_dlc_DocId>
    <_dlc_DocIdUrl xmlns="2eb23eb2-4919-4bd4-b5be-0d6d4eb9c3d7">
      <Url>https://corp.ugmk.com/_layouts/15/DocIdRedir.aspx?ID=YHEFWEUWANX7-343-3</Url>
      <Description>YHEFWEUWANX7-343-3</Description>
    </_dlc_DocIdUrl>
  </documentManagement>
</p:properties>
</file>

<file path=customXml/itemProps1.xml><?xml version="1.0" encoding="utf-8"?>
<ds:datastoreItem xmlns:ds="http://schemas.openxmlformats.org/officeDocument/2006/customXml" ds:itemID="{71256983-9CB8-4575-A9DC-159CA9215F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b23eb2-4919-4bd4-b5be-0d6d4eb9c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8155F8-E5E1-434B-B688-CB1A13F20A9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0FFB783-7400-4D54-9394-A0A3DD7A4C3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D9678E1-76D2-448C-A408-D6EACF08EDF4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2eb23eb2-4919-4bd4-b5be-0d6d4eb9c3d7"/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18</TotalTime>
  <Words>1000</Words>
  <Application>Microsoft Office PowerPoint</Application>
  <PresentationFormat>Произвольный</PresentationFormat>
  <Paragraphs>193</Paragraphs>
  <Slides>1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Слайд think-cell</vt:lpstr>
      <vt:lpstr>«Инженерная школа УГМК»</vt:lpstr>
      <vt:lpstr>О проекте</vt:lpstr>
      <vt:lpstr>Отбор учеников в Инженерную школу УГМК</vt:lpstr>
      <vt:lpstr>Контингент</vt:lpstr>
      <vt:lpstr>Формат обучения</vt:lpstr>
      <vt:lpstr>Эффект</vt:lpstr>
      <vt:lpstr>Отбор в Инженерную школу УГМК 2021-22 уч.год</vt:lpstr>
      <vt:lpstr>Матрица программ и мероприятий  Инженерной школы УГМК 2022 </vt:lpstr>
      <vt:lpstr>План-график программ и мероприятий  Инженерной школы УГМК 2022 </vt:lpstr>
      <vt:lpstr>География программы – 24 муниципалитета в 11 регионах</vt:lpstr>
      <vt:lpstr>Отбор учеников в Инженерную школу УГМК</vt:lpstr>
      <vt:lpstr>Установочные встречи и вводный курс</vt:lpstr>
      <vt:lpstr>Конкурсный отбор</vt:lpstr>
      <vt:lpstr>Призыв к действию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9990007889@gmail.com</dc:creator>
  <cp:lastModifiedBy>root5</cp:lastModifiedBy>
  <cp:revision>986</cp:revision>
  <dcterms:created xsi:type="dcterms:W3CDTF">2021-03-31T07:59:31Z</dcterms:created>
  <dcterms:modified xsi:type="dcterms:W3CDTF">2021-12-09T07:5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F11B57AF927E48A713F8B75CFE1B46</vt:lpwstr>
  </property>
  <property fmtid="{D5CDD505-2E9C-101B-9397-08002B2CF9AE}" pid="3" name="_dlc_DocIdItemGuid">
    <vt:lpwstr>e1f57fe3-0f07-486e-9892-b2d28e186dbc</vt:lpwstr>
  </property>
</Properties>
</file>